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7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8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6"/>
    <p:sldMasterId id="2147483793" r:id="rId7"/>
    <p:sldMasterId id="2147483817" r:id="rId8"/>
    <p:sldMasterId id="2147483840" r:id="rId9"/>
    <p:sldMasterId id="2147483886" r:id="rId10"/>
    <p:sldMasterId id="2147483916" r:id="rId11"/>
    <p:sldMasterId id="2147483922" r:id="rId12"/>
    <p:sldMasterId id="2147483930" r:id="rId13"/>
    <p:sldMasterId id="2147483947" r:id="rId14"/>
  </p:sldMasterIdLst>
  <p:notesMasterIdLst>
    <p:notesMasterId r:id="rId23"/>
  </p:notesMasterIdLst>
  <p:handoutMasterIdLst>
    <p:handoutMasterId r:id="rId24"/>
  </p:handoutMasterIdLst>
  <p:sldIdLst>
    <p:sldId id="1073" r:id="rId15"/>
    <p:sldId id="2560" r:id="rId16"/>
    <p:sldId id="2561" r:id="rId17"/>
    <p:sldId id="2562" r:id="rId18"/>
    <p:sldId id="2563" r:id="rId19"/>
    <p:sldId id="2564" r:id="rId20"/>
    <p:sldId id="2565" r:id="rId21"/>
    <p:sldId id="1108" r:id="rId22"/>
  </p:sldIdLst>
  <p:sldSz cx="9144000" cy="6858000" type="screen4x3"/>
  <p:notesSz cx="6858000" cy="9945688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9">
          <p15:clr>
            <a:srgbClr val="A4A3A4"/>
          </p15:clr>
        </p15:guide>
        <p15:guide id="2" orient="horz" pos="696">
          <p15:clr>
            <a:srgbClr val="A4A3A4"/>
          </p15:clr>
        </p15:guide>
        <p15:guide id="3" orient="horz" pos="926">
          <p15:clr>
            <a:srgbClr val="A4A3A4"/>
          </p15:clr>
        </p15:guide>
        <p15:guide id="4" orient="horz" pos="2657">
          <p15:clr>
            <a:srgbClr val="A4A3A4"/>
          </p15:clr>
        </p15:guide>
        <p15:guide id="5" orient="horz" pos="232">
          <p15:clr>
            <a:srgbClr val="A4A3A4"/>
          </p15:clr>
        </p15:guide>
        <p15:guide id="6" orient="horz" pos="487">
          <p15:clr>
            <a:srgbClr val="A4A3A4"/>
          </p15:clr>
        </p15:guide>
        <p15:guide id="7" pos="241">
          <p15:clr>
            <a:srgbClr val="A4A3A4"/>
          </p15:clr>
        </p15:guide>
        <p15:guide id="8" orient="horz">
          <p15:clr>
            <a:srgbClr val="A4A3A4"/>
          </p15:clr>
        </p15:guide>
        <p15:guide id="9" orient="horz" pos="1659">
          <p15:clr>
            <a:srgbClr val="A4A3A4"/>
          </p15:clr>
        </p15:guide>
        <p15:guide id="10" orient="horz" pos="3639">
          <p15:clr>
            <a:srgbClr val="A4A3A4"/>
          </p15:clr>
        </p15:guide>
        <p15:guide id="11" orient="horz" pos="623">
          <p15:clr>
            <a:srgbClr val="A4A3A4"/>
          </p15:clr>
        </p15:guide>
        <p15:guide id="12" orient="horz" pos="4085">
          <p15:clr>
            <a:srgbClr val="A4A3A4"/>
          </p15:clr>
        </p15:guide>
        <p15:guide id="13" orient="horz" pos="1219">
          <p15:clr>
            <a:srgbClr val="A4A3A4"/>
          </p15:clr>
        </p15:guide>
        <p15:guide id="14" orient="horz" pos="1989">
          <p15:clr>
            <a:srgbClr val="A4A3A4"/>
          </p15:clr>
        </p15:guide>
        <p15:guide id="15" orient="horz" pos="2745">
          <p15:clr>
            <a:srgbClr val="A4A3A4"/>
          </p15:clr>
        </p15:guide>
        <p15:guide id="16" orient="horz" pos="3759">
          <p15:clr>
            <a:srgbClr val="A4A3A4"/>
          </p15:clr>
        </p15:guide>
        <p15:guide id="17" orient="horz" pos="4319">
          <p15:clr>
            <a:srgbClr val="A4A3A4"/>
          </p15:clr>
        </p15:guide>
        <p15:guide id="18" orient="horz" pos="4199">
          <p15:clr>
            <a:srgbClr val="A4A3A4"/>
          </p15:clr>
        </p15:guide>
        <p15:guide id="19" orient="horz" pos="3537">
          <p15:clr>
            <a:srgbClr val="A4A3A4"/>
          </p15:clr>
        </p15:guide>
        <p15:guide id="20" pos="5759">
          <p15:clr>
            <a:srgbClr val="A4A3A4"/>
          </p15:clr>
        </p15:guide>
        <p15:guide id="21">
          <p15:clr>
            <a:srgbClr val="A4A3A4"/>
          </p15:clr>
        </p15:guide>
        <p15:guide id="22" pos="2880">
          <p15:clr>
            <a:srgbClr val="A4A3A4"/>
          </p15:clr>
        </p15:guide>
        <p15:guide id="23" pos="2064">
          <p15:clr>
            <a:srgbClr val="A4A3A4"/>
          </p15:clr>
        </p15:guide>
        <p15:guide id="24" pos="246">
          <p15:clr>
            <a:srgbClr val="A4A3A4"/>
          </p15:clr>
        </p15:guide>
        <p15:guide id="25" pos="5513">
          <p15:clr>
            <a:srgbClr val="A4A3A4"/>
          </p15:clr>
        </p15:guide>
        <p15:guide id="26" pos="4326">
          <p15:clr>
            <a:srgbClr val="A4A3A4"/>
          </p15:clr>
        </p15:guide>
        <p15:guide id="27" pos="12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981D97"/>
    <a:srgbClr val="007FA3"/>
    <a:srgbClr val="8C8D8D"/>
    <a:srgbClr val="F1F2F2"/>
    <a:srgbClr val="898989"/>
    <a:srgbClr val="FFFFFF"/>
    <a:srgbClr val="88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DA1B6B-966D-4A1F-8007-37A0B2893B6A}" v="1220" dt="2019-09-17T06:15:04.3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6220" autoAdjust="0"/>
  </p:normalViewPr>
  <p:slideViewPr>
    <p:cSldViewPr snapToGrid="0" snapToObjects="1" showGuides="1">
      <p:cViewPr varScale="1">
        <p:scale>
          <a:sx n="68" d="100"/>
          <a:sy n="68" d="100"/>
        </p:scale>
        <p:origin x="972" y="48"/>
      </p:cViewPr>
      <p:guideLst>
        <p:guide orient="horz" pos="2889"/>
        <p:guide orient="horz" pos="696"/>
        <p:guide orient="horz" pos="926"/>
        <p:guide orient="horz" pos="2657"/>
        <p:guide orient="horz" pos="232"/>
        <p:guide orient="horz" pos="487"/>
        <p:guide pos="241"/>
        <p:guide orient="horz"/>
        <p:guide orient="horz" pos="1659"/>
        <p:guide orient="horz" pos="3639"/>
        <p:guide orient="horz" pos="623"/>
        <p:guide orient="horz" pos="4085"/>
        <p:guide orient="horz" pos="1219"/>
        <p:guide orient="horz" pos="1989"/>
        <p:guide orient="horz" pos="2745"/>
        <p:guide orient="horz" pos="3759"/>
        <p:guide orient="horz" pos="4319"/>
        <p:guide orient="horz" pos="4199"/>
        <p:guide orient="horz" pos="3537"/>
        <p:guide pos="5759"/>
        <p:guide/>
        <p:guide pos="2880"/>
        <p:guide pos="2064"/>
        <p:guide pos="246"/>
        <p:guide pos="5513"/>
        <p:guide pos="4326"/>
        <p:guide pos="12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-882" y="-90"/>
      </p:cViewPr>
      <p:guideLst>
        <p:guide orient="horz" pos="3133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8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nsara, Jiten" userId="bc054d3e-5a11-47f4-87d7-72de1884915e" providerId="ADAL" clId="{E9DA1B6B-966D-4A1F-8007-37A0B2893B6A}"/>
    <pc:docChg chg="undo custSel addSld delSld modSld">
      <pc:chgData name="Pansara, Jiten" userId="bc054d3e-5a11-47f4-87d7-72de1884915e" providerId="ADAL" clId="{E9DA1B6B-966D-4A1F-8007-37A0B2893B6A}" dt="2019-09-17T06:15:04.327" v="1219"/>
      <pc:docMkLst>
        <pc:docMk/>
      </pc:docMkLst>
      <pc:sldChg chg="addSp delSp modSp">
        <pc:chgData name="Pansara, Jiten" userId="bc054d3e-5a11-47f4-87d7-72de1884915e" providerId="ADAL" clId="{E9DA1B6B-966D-4A1F-8007-37A0B2893B6A}" dt="2019-09-16T11:55:30.555" v="94" actId="20577"/>
        <pc:sldMkLst>
          <pc:docMk/>
          <pc:sldMk cId="1177194507" sldId="1073"/>
        </pc:sldMkLst>
        <pc:spChg chg="mod">
          <ac:chgData name="Pansara, Jiten" userId="bc054d3e-5a11-47f4-87d7-72de1884915e" providerId="ADAL" clId="{E9DA1B6B-966D-4A1F-8007-37A0B2893B6A}" dt="2019-09-16T11:55:30.555" v="94" actId="20577"/>
          <ac:spMkLst>
            <pc:docMk/>
            <pc:sldMk cId="1177194507" sldId="1073"/>
            <ac:spMk id="9" creationId="{00000000-0000-0000-0000-000000000000}"/>
          </ac:spMkLst>
        </pc:spChg>
        <pc:picChg chg="add del mod">
          <ac:chgData name="Pansara, Jiten" userId="bc054d3e-5a11-47f4-87d7-72de1884915e" providerId="ADAL" clId="{E9DA1B6B-966D-4A1F-8007-37A0B2893B6A}" dt="2019-09-16T11:53:41.341" v="80" actId="478"/>
          <ac:picMkLst>
            <pc:docMk/>
            <pc:sldMk cId="1177194507" sldId="1073"/>
            <ac:picMk id="2050" creationId="{E40C84A3-7916-4A37-BC09-0E5BED0FE3B7}"/>
          </ac:picMkLst>
        </pc:picChg>
        <pc:picChg chg="add mod">
          <ac:chgData name="Pansara, Jiten" userId="bc054d3e-5a11-47f4-87d7-72de1884915e" providerId="ADAL" clId="{E9DA1B6B-966D-4A1F-8007-37A0B2893B6A}" dt="2019-09-16T11:53:57.763" v="86" actId="1440"/>
          <ac:picMkLst>
            <pc:docMk/>
            <pc:sldMk cId="1177194507" sldId="1073"/>
            <ac:picMk id="2052" creationId="{A9E33969-22D4-4242-8B89-D668799F71B2}"/>
          </ac:picMkLst>
        </pc:picChg>
      </pc:sldChg>
      <pc:sldChg chg="addSp modSp">
        <pc:chgData name="Pansara, Jiten" userId="bc054d3e-5a11-47f4-87d7-72de1884915e" providerId="ADAL" clId="{E9DA1B6B-966D-4A1F-8007-37A0B2893B6A}" dt="2019-09-17T06:04:12.851" v="1117" actId="2711"/>
        <pc:sldMkLst>
          <pc:docMk/>
          <pc:sldMk cId="846310624" sldId="1108"/>
        </pc:sldMkLst>
        <pc:spChg chg="add mod">
          <ac:chgData name="Pansara, Jiten" userId="bc054d3e-5a11-47f4-87d7-72de1884915e" providerId="ADAL" clId="{E9DA1B6B-966D-4A1F-8007-37A0B2893B6A}" dt="2019-09-17T06:04:12.851" v="1117" actId="2711"/>
          <ac:spMkLst>
            <pc:docMk/>
            <pc:sldMk cId="846310624" sldId="1108"/>
            <ac:spMk id="4" creationId="{06B58DEB-6F20-431F-ACDD-F72D6207BB90}"/>
          </ac:spMkLst>
        </pc:spChg>
        <pc:spChg chg="mod">
          <ac:chgData name="Pansara, Jiten" userId="bc054d3e-5a11-47f4-87d7-72de1884915e" providerId="ADAL" clId="{E9DA1B6B-966D-4A1F-8007-37A0B2893B6A}" dt="2019-09-17T06:03:19.082" v="1088" actId="14100"/>
          <ac:spMkLst>
            <pc:docMk/>
            <pc:sldMk cId="846310624" sldId="1108"/>
            <ac:spMk id="9" creationId="{00000000-0000-0000-0000-000000000000}"/>
          </ac:spMkLst>
        </pc:spChg>
      </pc:sldChg>
      <pc:sldChg chg="del">
        <pc:chgData name="Pansara, Jiten" userId="bc054d3e-5a11-47f4-87d7-72de1884915e" providerId="ADAL" clId="{E9DA1B6B-966D-4A1F-8007-37A0B2893B6A}" dt="2019-09-16T11:53:10.068" v="79" actId="2696"/>
        <pc:sldMkLst>
          <pc:docMk/>
          <pc:sldMk cId="3084201535" sldId="1136"/>
        </pc:sldMkLst>
      </pc:sldChg>
      <pc:sldChg chg="addSp modSp">
        <pc:chgData name="Pansara, Jiten" userId="bc054d3e-5a11-47f4-87d7-72de1884915e" providerId="ADAL" clId="{E9DA1B6B-966D-4A1F-8007-37A0B2893B6A}" dt="2019-09-17T06:02:02.944" v="1073" actId="20577"/>
        <pc:sldMkLst>
          <pc:docMk/>
          <pc:sldMk cId="3348144084" sldId="2560"/>
        </pc:sldMkLst>
        <pc:spChg chg="add mod">
          <ac:chgData name="Pansara, Jiten" userId="bc054d3e-5a11-47f4-87d7-72de1884915e" providerId="ADAL" clId="{E9DA1B6B-966D-4A1F-8007-37A0B2893B6A}" dt="2019-09-17T06:02:02.944" v="1073" actId="20577"/>
          <ac:spMkLst>
            <pc:docMk/>
            <pc:sldMk cId="3348144084" sldId="2560"/>
            <ac:spMk id="2" creationId="{E4B03960-BD5A-4CAC-A69C-AEBBECAEEC4E}"/>
          </ac:spMkLst>
        </pc:spChg>
        <pc:spChg chg="mod">
          <ac:chgData name="Pansara, Jiten" userId="bc054d3e-5a11-47f4-87d7-72de1884915e" providerId="ADAL" clId="{E9DA1B6B-966D-4A1F-8007-37A0B2893B6A}" dt="2019-09-16T11:56:06.629" v="103" actId="1076"/>
          <ac:spMkLst>
            <pc:docMk/>
            <pc:sldMk cId="3348144084" sldId="2560"/>
            <ac:spMk id="15" creationId="{E1C9ACB6-AF6F-4267-A935-324E0DC7F2A4}"/>
          </ac:spMkLst>
        </pc:spChg>
      </pc:sldChg>
      <pc:sldChg chg="addSp modSp add">
        <pc:chgData name="Pansara, Jiten" userId="bc054d3e-5a11-47f4-87d7-72de1884915e" providerId="ADAL" clId="{E9DA1B6B-966D-4A1F-8007-37A0B2893B6A}" dt="2019-09-17T05:56:16.353" v="1052" actId="113"/>
        <pc:sldMkLst>
          <pc:docMk/>
          <pc:sldMk cId="2859939515" sldId="2561"/>
        </pc:sldMkLst>
        <pc:spChg chg="mod">
          <ac:chgData name="Pansara, Jiten" userId="bc054d3e-5a11-47f4-87d7-72de1884915e" providerId="ADAL" clId="{E9DA1B6B-966D-4A1F-8007-37A0B2893B6A}" dt="2019-09-16T12:03:29.867" v="336" actId="20577"/>
          <ac:spMkLst>
            <pc:docMk/>
            <pc:sldMk cId="2859939515" sldId="2561"/>
            <ac:spMk id="2" creationId="{EA0556B3-F533-4F0C-BB56-1C2B024B6F1B}"/>
          </ac:spMkLst>
        </pc:spChg>
        <pc:spChg chg="add mod">
          <ac:chgData name="Pansara, Jiten" userId="bc054d3e-5a11-47f4-87d7-72de1884915e" providerId="ADAL" clId="{E9DA1B6B-966D-4A1F-8007-37A0B2893B6A}" dt="2019-09-17T05:56:16.353" v="1052" actId="113"/>
          <ac:spMkLst>
            <pc:docMk/>
            <pc:sldMk cId="2859939515" sldId="2561"/>
            <ac:spMk id="4" creationId="{2712EDAB-06B3-44B2-9D0E-B520DCCE6170}"/>
          </ac:spMkLst>
        </pc:spChg>
      </pc:sldChg>
      <pc:sldChg chg="addSp delSp modSp add">
        <pc:chgData name="Pansara, Jiten" userId="bc054d3e-5a11-47f4-87d7-72de1884915e" providerId="ADAL" clId="{E9DA1B6B-966D-4A1F-8007-37A0B2893B6A}" dt="2019-09-16T12:39:57.381" v="689" actId="1076"/>
        <pc:sldMkLst>
          <pc:docMk/>
          <pc:sldMk cId="2137671678" sldId="2562"/>
        </pc:sldMkLst>
        <pc:spChg chg="mod">
          <ac:chgData name="Pansara, Jiten" userId="bc054d3e-5a11-47f4-87d7-72de1884915e" providerId="ADAL" clId="{E9DA1B6B-966D-4A1F-8007-37A0B2893B6A}" dt="2019-09-16T12:07:18.859" v="538" actId="20577"/>
          <ac:spMkLst>
            <pc:docMk/>
            <pc:sldMk cId="2137671678" sldId="2562"/>
            <ac:spMk id="2" creationId="{EA0556B3-F533-4F0C-BB56-1C2B024B6F1B}"/>
          </ac:spMkLst>
        </pc:spChg>
        <pc:spChg chg="del">
          <ac:chgData name="Pansara, Jiten" userId="bc054d3e-5a11-47f4-87d7-72de1884915e" providerId="ADAL" clId="{E9DA1B6B-966D-4A1F-8007-37A0B2893B6A}" dt="2019-09-16T12:07:22.269" v="539" actId="478"/>
          <ac:spMkLst>
            <pc:docMk/>
            <pc:sldMk cId="2137671678" sldId="2562"/>
            <ac:spMk id="4" creationId="{2712EDAB-06B3-44B2-9D0E-B520DCCE6170}"/>
          </ac:spMkLst>
        </pc:spChg>
        <pc:picChg chg="add mod">
          <ac:chgData name="Pansara, Jiten" userId="bc054d3e-5a11-47f4-87d7-72de1884915e" providerId="ADAL" clId="{E9DA1B6B-966D-4A1F-8007-37A0B2893B6A}" dt="2019-09-16T12:39:57.381" v="689" actId="1076"/>
          <ac:picMkLst>
            <pc:docMk/>
            <pc:sldMk cId="2137671678" sldId="2562"/>
            <ac:picMk id="5" creationId="{8BF25BFF-0A0B-4461-A7EC-D7BD5BADECCD}"/>
          </ac:picMkLst>
        </pc:picChg>
        <pc:picChg chg="add mod">
          <ac:chgData name="Pansara, Jiten" userId="bc054d3e-5a11-47f4-87d7-72de1884915e" providerId="ADAL" clId="{E9DA1B6B-966D-4A1F-8007-37A0B2893B6A}" dt="2019-09-16T12:39:44.845" v="685" actId="1076"/>
          <ac:picMkLst>
            <pc:docMk/>
            <pc:sldMk cId="2137671678" sldId="2562"/>
            <ac:picMk id="3074" creationId="{B7982804-5D60-4569-8820-45331F56449B}"/>
          </ac:picMkLst>
        </pc:picChg>
      </pc:sldChg>
      <pc:sldChg chg="addSp delSp modSp add">
        <pc:chgData name="Pansara, Jiten" userId="bc054d3e-5a11-47f4-87d7-72de1884915e" providerId="ADAL" clId="{E9DA1B6B-966D-4A1F-8007-37A0B2893B6A}" dt="2019-09-17T05:38:11.548" v="956" actId="255"/>
        <pc:sldMkLst>
          <pc:docMk/>
          <pc:sldMk cId="3711807318" sldId="2563"/>
        </pc:sldMkLst>
        <pc:spChg chg="mod">
          <ac:chgData name="Pansara, Jiten" userId="bc054d3e-5a11-47f4-87d7-72de1884915e" providerId="ADAL" clId="{E9DA1B6B-966D-4A1F-8007-37A0B2893B6A}" dt="2019-09-16T12:29:48.589" v="567" actId="20577"/>
          <ac:spMkLst>
            <pc:docMk/>
            <pc:sldMk cId="3711807318" sldId="2563"/>
            <ac:spMk id="2" creationId="{EA0556B3-F533-4F0C-BB56-1C2B024B6F1B}"/>
          </ac:spMkLst>
        </pc:spChg>
        <pc:spChg chg="add mod">
          <ac:chgData name="Pansara, Jiten" userId="bc054d3e-5a11-47f4-87d7-72de1884915e" providerId="ADAL" clId="{E9DA1B6B-966D-4A1F-8007-37A0B2893B6A}" dt="2019-09-17T05:38:11.548" v="956" actId="255"/>
          <ac:spMkLst>
            <pc:docMk/>
            <pc:sldMk cId="3711807318" sldId="2563"/>
            <ac:spMk id="4" creationId="{D0262EA1-66BF-4D67-A9B6-94C427D76C91}"/>
          </ac:spMkLst>
        </pc:spChg>
        <pc:picChg chg="del">
          <ac:chgData name="Pansara, Jiten" userId="bc054d3e-5a11-47f4-87d7-72de1884915e" providerId="ADAL" clId="{E9DA1B6B-966D-4A1F-8007-37A0B2893B6A}" dt="2019-09-16T12:29:40.190" v="545" actId="478"/>
          <ac:picMkLst>
            <pc:docMk/>
            <pc:sldMk cId="3711807318" sldId="2563"/>
            <ac:picMk id="5" creationId="{8BF25BFF-0A0B-4461-A7EC-D7BD5BADECCD}"/>
          </ac:picMkLst>
        </pc:picChg>
      </pc:sldChg>
      <pc:sldChg chg="modSp add">
        <pc:chgData name="Pansara, Jiten" userId="bc054d3e-5a11-47f4-87d7-72de1884915e" providerId="ADAL" clId="{E9DA1B6B-966D-4A1F-8007-37A0B2893B6A}" dt="2019-09-17T06:01:05.238" v="1056" actId="20577"/>
        <pc:sldMkLst>
          <pc:docMk/>
          <pc:sldMk cId="2705056657" sldId="2564"/>
        </pc:sldMkLst>
        <pc:spChg chg="mod">
          <ac:chgData name="Pansara, Jiten" userId="bc054d3e-5a11-47f4-87d7-72de1884915e" providerId="ADAL" clId="{E9DA1B6B-966D-4A1F-8007-37A0B2893B6A}" dt="2019-09-17T05:34:17.668" v="867" actId="20577"/>
          <ac:spMkLst>
            <pc:docMk/>
            <pc:sldMk cId="2705056657" sldId="2564"/>
            <ac:spMk id="2" creationId="{EA0556B3-F533-4F0C-BB56-1C2B024B6F1B}"/>
          </ac:spMkLst>
        </pc:spChg>
        <pc:spChg chg="mod">
          <ac:chgData name="Pansara, Jiten" userId="bc054d3e-5a11-47f4-87d7-72de1884915e" providerId="ADAL" clId="{E9DA1B6B-966D-4A1F-8007-37A0B2893B6A}" dt="2019-09-17T06:01:05.238" v="1056" actId="20577"/>
          <ac:spMkLst>
            <pc:docMk/>
            <pc:sldMk cId="2705056657" sldId="2564"/>
            <ac:spMk id="4" creationId="{D0262EA1-66BF-4D67-A9B6-94C427D76C91}"/>
          </ac:spMkLst>
        </pc:spChg>
      </pc:sldChg>
      <pc:sldChg chg="addSp delSp modSp add">
        <pc:chgData name="Pansara, Jiten" userId="bc054d3e-5a11-47f4-87d7-72de1884915e" providerId="ADAL" clId="{E9DA1B6B-966D-4A1F-8007-37A0B2893B6A}" dt="2019-09-17T06:15:04.327" v="1219"/>
        <pc:sldMkLst>
          <pc:docMk/>
          <pc:sldMk cId="730414996" sldId="2565"/>
        </pc:sldMkLst>
        <pc:spChg chg="mod">
          <ac:chgData name="Pansara, Jiten" userId="bc054d3e-5a11-47f4-87d7-72de1884915e" providerId="ADAL" clId="{E9DA1B6B-966D-4A1F-8007-37A0B2893B6A}" dt="2019-09-17T06:02:52.174" v="1083" actId="20577"/>
          <ac:spMkLst>
            <pc:docMk/>
            <pc:sldMk cId="730414996" sldId="2565"/>
            <ac:spMk id="2" creationId="{EA0556B3-F533-4F0C-BB56-1C2B024B6F1B}"/>
          </ac:spMkLst>
        </pc:spChg>
        <pc:spChg chg="del mod">
          <ac:chgData name="Pansara, Jiten" userId="bc054d3e-5a11-47f4-87d7-72de1884915e" providerId="ADAL" clId="{E9DA1B6B-966D-4A1F-8007-37A0B2893B6A}" dt="2019-09-17T06:03:00.243" v="1086"/>
          <ac:spMkLst>
            <pc:docMk/>
            <pc:sldMk cId="730414996" sldId="2565"/>
            <ac:spMk id="4" creationId="{D0262EA1-66BF-4D67-A9B6-94C427D76C91}"/>
          </ac:spMkLst>
        </pc:spChg>
        <pc:spChg chg="add del mod">
          <ac:chgData name="Pansara, Jiten" userId="bc054d3e-5a11-47f4-87d7-72de1884915e" providerId="ADAL" clId="{E9DA1B6B-966D-4A1F-8007-37A0B2893B6A}" dt="2019-09-17T06:11:29.084" v="1124"/>
          <ac:spMkLst>
            <pc:docMk/>
            <pc:sldMk cId="730414996" sldId="2565"/>
            <ac:spMk id="5" creationId="{1A8B35DE-5D7C-460D-80C8-A376DF0F0821}"/>
          </ac:spMkLst>
        </pc:spChg>
        <pc:spChg chg="add del mod">
          <ac:chgData name="Pansara, Jiten" userId="bc054d3e-5a11-47f4-87d7-72de1884915e" providerId="ADAL" clId="{E9DA1B6B-966D-4A1F-8007-37A0B2893B6A}" dt="2019-09-17T06:11:38.718" v="1129"/>
          <ac:spMkLst>
            <pc:docMk/>
            <pc:sldMk cId="730414996" sldId="2565"/>
            <ac:spMk id="7" creationId="{61B1D189-B8FA-4C83-BA61-02558D5167F3}"/>
          </ac:spMkLst>
        </pc:spChg>
        <pc:spChg chg="add mod">
          <ac:chgData name="Pansara, Jiten" userId="bc054d3e-5a11-47f4-87d7-72de1884915e" providerId="ADAL" clId="{E9DA1B6B-966D-4A1F-8007-37A0B2893B6A}" dt="2019-09-17T06:13:45.504" v="1186" actId="6549"/>
          <ac:spMkLst>
            <pc:docMk/>
            <pc:sldMk cId="730414996" sldId="2565"/>
            <ac:spMk id="9" creationId="{E729D733-C80D-4201-920D-63CAB5883364}"/>
          </ac:spMkLst>
        </pc:spChg>
        <pc:graphicFrameChg chg="add del mod">
          <ac:chgData name="Pansara, Jiten" userId="bc054d3e-5a11-47f4-87d7-72de1884915e" providerId="ADAL" clId="{E9DA1B6B-966D-4A1F-8007-37A0B2893B6A}" dt="2019-09-17T06:11:29.079" v="1122"/>
          <ac:graphicFrameMkLst>
            <pc:docMk/>
            <pc:sldMk cId="730414996" sldId="2565"/>
            <ac:graphicFrameMk id="6" creationId="{F60F3F7D-F5C9-4F85-ADA1-E5A889E18864}"/>
          </ac:graphicFrameMkLst>
        </pc:graphicFrameChg>
        <pc:graphicFrameChg chg="add del">
          <ac:chgData name="Pansara, Jiten" userId="bc054d3e-5a11-47f4-87d7-72de1884915e" providerId="ADAL" clId="{E9DA1B6B-966D-4A1F-8007-37A0B2893B6A}" dt="2019-09-17T06:11:38.712" v="1127"/>
          <ac:graphicFrameMkLst>
            <pc:docMk/>
            <pc:sldMk cId="730414996" sldId="2565"/>
            <ac:graphicFrameMk id="8" creationId="{9ADB0354-523C-446B-BEAD-BC649974D3E4}"/>
          </ac:graphicFrameMkLst>
        </pc:graphicFrameChg>
        <pc:graphicFrameChg chg="add mod modGraphic">
          <ac:chgData name="Pansara, Jiten" userId="bc054d3e-5a11-47f4-87d7-72de1884915e" providerId="ADAL" clId="{E9DA1B6B-966D-4A1F-8007-37A0B2893B6A}" dt="2019-09-17T06:15:04.327" v="1219"/>
          <ac:graphicFrameMkLst>
            <pc:docMk/>
            <pc:sldMk cId="730414996" sldId="2565"/>
            <ac:graphicFrameMk id="10" creationId="{3A1CA075-B911-4F49-9809-4151D21CAA57}"/>
          </ac:graphicFrameMkLst>
        </pc:graphicFrameChg>
      </pc:sldChg>
      <pc:sldChg chg="del">
        <pc:chgData name="Pansara, Jiten" userId="bc054d3e-5a11-47f4-87d7-72de1884915e" providerId="ADAL" clId="{E9DA1B6B-966D-4A1F-8007-37A0B2893B6A}" dt="2019-09-16T11:56:01.297" v="101" actId="2696"/>
        <pc:sldMkLst>
          <pc:docMk/>
          <pc:sldMk cId="998943594" sldId="2586"/>
        </pc:sldMkLst>
      </pc:sldChg>
      <pc:sldMasterChg chg="delSldLayout">
        <pc:chgData name="Pansara, Jiten" userId="bc054d3e-5a11-47f4-87d7-72de1884915e" providerId="ADAL" clId="{E9DA1B6B-966D-4A1F-8007-37A0B2893B6A}" dt="2019-09-16T11:56:01.298" v="102" actId="2696"/>
        <pc:sldMasterMkLst>
          <pc:docMk/>
          <pc:sldMasterMk cId="4064296392" sldId="2147483715"/>
        </pc:sldMasterMkLst>
        <pc:sldLayoutChg chg="del">
          <pc:chgData name="Pansara, Jiten" userId="bc054d3e-5a11-47f4-87d7-72de1884915e" providerId="ADAL" clId="{E9DA1B6B-966D-4A1F-8007-37A0B2893B6A}" dt="2019-09-16T11:56:01.298" v="102" actId="2696"/>
          <pc:sldLayoutMkLst>
            <pc:docMk/>
            <pc:sldMasterMk cId="4064296392" sldId="2147483715"/>
            <pc:sldLayoutMk cId="2316797975" sldId="2147483792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993E57-F06E-2343-8505-8306C931B374}" type="datetimeFigureOut">
              <a:rPr lang="en-US" smtClean="0"/>
              <a:pPr/>
              <a:t>9/1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BA0C0-C469-224C-A13F-1126ACE849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6766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71FE8-551B-41D8-8E66-7D01683EE4D2}" type="datetimeFigureOut">
              <a:rPr lang="fi-FI" smtClean="0"/>
              <a:pPr/>
              <a:t>17.9.2019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724202"/>
            <a:ext cx="5486400" cy="44755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65BE45-5FCE-418C-8A7C-9AF791EA8C8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294112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+ Securities Process suite – that has all the application with SFP but also </a:t>
            </a:r>
            <a:r>
              <a:rPr lang="en-GB" dirty="0" err="1"/>
              <a:t>valdi</a:t>
            </a:r>
            <a:r>
              <a:rPr lang="en-GB" dirty="0"/>
              <a:t> OMS, </a:t>
            </a:r>
            <a:r>
              <a:rPr lang="en-GB" dirty="0" err="1"/>
              <a:t>protegent</a:t>
            </a:r>
            <a:r>
              <a:rPr lang="en-GB" dirty="0"/>
              <a:t>, XSP  - ecosyste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Data Process management  - </a:t>
            </a:r>
            <a:r>
              <a:rPr lang="en-GB" dirty="0" err="1"/>
              <a:t>Astec</a:t>
            </a:r>
            <a:r>
              <a:rPr lang="en-GB" dirty="0"/>
              <a:t> Analytic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Global One for Out of the Box for APAC – targeted for small brok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black"/>
                </a:solidFill>
              </a:rPr>
              <a:t>Securities Finance Transaction Regulation Reporting (SFT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black"/>
                </a:solidFill>
              </a:rPr>
              <a:t>Securities finance managed serv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black"/>
                </a:solidFill>
              </a:rPr>
              <a:t>Collateral – extended functionality thro’ integration with </a:t>
            </a:r>
            <a:r>
              <a:rPr lang="en-US" sz="1200" b="1" kern="0" dirty="0" err="1">
                <a:solidFill>
                  <a:prstClr val="black"/>
                </a:solidFill>
              </a:rPr>
              <a:t>Adadptiv</a:t>
            </a:r>
            <a:r>
              <a:rPr lang="en-US" sz="1200" b="1" kern="0" dirty="0">
                <a:solidFill>
                  <a:prstClr val="black"/>
                </a:solidFill>
              </a:rPr>
              <a:t> on SIM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black"/>
                </a:solidFill>
              </a:rPr>
              <a:t>Collateral  - Collateral management for Banking book  with Profile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WSC – grow with Trust Clien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027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644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ja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400"/>
            <a:ext cx="2880000" cy="910101"/>
          </a:xfrm>
        </p:spPr>
        <p:txBody>
          <a:bodyPr>
            <a:noAutofit/>
          </a:bodyPr>
          <a:lstStyle>
            <a:lvl1pPr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5384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5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88495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4" y="1828801"/>
            <a:ext cx="4097192" cy="43386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1"/>
            <a:ext cx="4096800" cy="43386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787911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6039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46696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2815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tx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47161400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3"/>
            <a:ext cx="7460544" cy="4764639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accent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37459468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856145" y="1084758"/>
            <a:ext cx="7460544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3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accent3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25671118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5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/>
              <a:t>Click icon to add picture</a:t>
            </a:r>
            <a:br>
              <a:rPr lang="fi-FI"/>
            </a:br>
            <a:br>
              <a:rPr lang="fi-FI"/>
            </a:br>
            <a:r>
              <a:rPr lang="en-US" cap="none" baseline="0" dirty="0"/>
              <a:t>Go to the speaker notes of this slide for instructions on how to add pictures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738475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2" y="0"/>
            <a:ext cx="9144001" cy="9144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4860" y="2764746"/>
            <a:ext cx="4937760" cy="151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77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Tea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23" t="6357" r="13384" b="28134"/>
          <a:stretch/>
        </p:blipFill>
        <p:spPr>
          <a:xfrm>
            <a:off x="-1" y="2"/>
            <a:ext cx="9144001" cy="67549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11"/>
          <a:stretch/>
        </p:blipFill>
        <p:spPr>
          <a:xfrm>
            <a:off x="350045" y="6353177"/>
            <a:ext cx="533957" cy="3537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1058291"/>
            <a:ext cx="4538774" cy="2612888"/>
          </a:xfrm>
        </p:spPr>
        <p:txBody>
          <a:bodyPr anchor="b" anchorCtr="0">
            <a:normAutofit/>
          </a:bodyPr>
          <a:lstStyle>
            <a:lvl1pPr>
              <a:lnSpc>
                <a:spcPts val="3300"/>
              </a:lnSpc>
              <a:defRPr sz="3000">
                <a:solidFill>
                  <a:srgbClr val="8DC6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5691705" y="-178239"/>
            <a:ext cx="5472318" cy="7296424"/>
          </a:xfrm>
          <a:prstGeom prst="ellipse">
            <a:avLst/>
          </a:prstGeom>
          <a:gradFill flip="none" rotWithShape="1">
            <a:gsLst>
              <a:gs pos="15000">
                <a:schemeClr val="bg1">
                  <a:alpha val="7000"/>
                </a:schemeClr>
              </a:gs>
              <a:gs pos="100000">
                <a:schemeClr val="bg1">
                  <a:alpha val="7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 err="1"/>
          </a:p>
        </p:txBody>
      </p:sp>
      <p:pic>
        <p:nvPicPr>
          <p:cNvPr id="11" name="Picture 10" descr="Circle White.png"/>
          <p:cNvPicPr>
            <a:picLocks noChangeAspect="1"/>
          </p:cNvPicPr>
          <p:nvPr userDrawn="1"/>
        </p:nvPicPr>
        <p:blipFill>
          <a:blip r:embed="rId4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6" y="604385"/>
            <a:ext cx="4293090" cy="572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520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6" y="1656196"/>
            <a:ext cx="8353233" cy="4511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555170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DEFFD-DE2B-4133-AA1D-5F7A5E0E0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81BF3-B66C-4CE1-939E-7B02CDA050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A8A548-CA58-47F7-8D74-6A9A8FA207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549FE-E4DD-4777-9548-8E85631C2F4C}" type="datetimeFigureOut">
              <a:rPr lang="en-US" smtClean="0"/>
              <a:t>9/1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292884-2E94-45C9-BF6C-AC55C2E03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7E609A-BA13-4E19-ACD4-607F2B4C5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A8E91-55EA-4A0E-8E0A-50D8371550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7451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82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19931210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420549"/>
            <a:ext cx="8361170" cy="10435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7" y="1656196"/>
            <a:ext cx="8353233" cy="4511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864760" y="6471457"/>
            <a:ext cx="33963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892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Confidential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169800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420549"/>
            <a:ext cx="8361170" cy="104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864760" y="6471457"/>
            <a:ext cx="33963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892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Confidential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306593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252101"/>
            <a:ext cx="8361170" cy="432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596664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864760" y="6471457"/>
            <a:ext cx="33963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892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Confidential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197942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293362"/>
            <a:ext cx="8361170" cy="43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639894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42393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6515" y="4961174"/>
            <a:ext cx="4628398" cy="6886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6515" y="6057515"/>
            <a:ext cx="2833200" cy="288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rgbClr val="8DC63F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7503" y="5783023"/>
            <a:ext cx="468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sp>
        <p:nvSpPr>
          <p:cNvPr id="8" name="Title 10"/>
          <p:cNvSpPr>
            <a:spLocks noGrp="1"/>
          </p:cNvSpPr>
          <p:nvPr>
            <p:ph type="title" hasCustomPrompt="1"/>
          </p:nvPr>
        </p:nvSpPr>
        <p:spPr>
          <a:xfrm>
            <a:off x="386515" y="3852128"/>
            <a:ext cx="5579208" cy="893345"/>
          </a:xfrm>
        </p:spPr>
        <p:txBody>
          <a:bodyPr anchor="b" anchorCtr="0">
            <a:noAutofit/>
          </a:bodyPr>
          <a:lstStyle>
            <a:lvl1pPr algn="l">
              <a:defRPr sz="1600" spc="-1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i-FI" dirty="0"/>
              <a:t>Presentation title testing length over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5952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8339" y="6539019"/>
            <a:ext cx="468000" cy="180000"/>
          </a:xfrm>
        </p:spPr>
        <p:txBody>
          <a:bodyPr/>
          <a:lstStyle>
            <a:lvl1pPr>
              <a:defRPr>
                <a:solidFill>
                  <a:srgbClr val="8C8D8D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3221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8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8339" y="6539019"/>
            <a:ext cx="468000" cy="180000"/>
          </a:xfrm>
        </p:spPr>
        <p:txBody>
          <a:bodyPr/>
          <a:lstStyle>
            <a:lvl1pPr>
              <a:defRPr sz="750">
                <a:solidFill>
                  <a:srgbClr val="8C8D8D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6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46097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FIS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>
          <a:xfrm>
            <a:off x="8288339" y="6539019"/>
            <a:ext cx="468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-147673" y="1257827"/>
            <a:ext cx="5644896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800">
                <a:solidFill>
                  <a:schemeClr val="bg1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r>
              <a:rPr lang="en-US" dirty="0"/>
              <a:t>“Quote layout type quote and adapt font size if necessary.</a:t>
            </a:r>
            <a:br>
              <a:rPr lang="en-US" dirty="0"/>
            </a:br>
            <a:r>
              <a:rPr lang="en-US" dirty="0"/>
              <a:t>Arial 28 </a:t>
            </a:r>
            <a:r>
              <a:rPr lang="en-US" dirty="0" err="1"/>
              <a:t>pt</a:t>
            </a:r>
            <a:r>
              <a:rPr lang="en-US" dirty="0"/>
              <a:t> bold white”</a:t>
            </a:r>
          </a:p>
        </p:txBody>
      </p:sp>
    </p:spTree>
    <p:extLst>
      <p:ext uri="{BB962C8B-B14F-4D97-AF65-F5344CB8AC3E}">
        <p14:creationId xmlns:p14="http://schemas.microsoft.com/office/powerpoint/2010/main" val="1882981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6" y="1833032"/>
            <a:ext cx="8353233" cy="4334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83792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96092" y="3059213"/>
            <a:ext cx="279242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288339" y="6539019"/>
            <a:ext cx="468000" cy="180000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96091" y="3495602"/>
            <a:ext cx="8361362" cy="868293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4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96091" y="3038195"/>
            <a:ext cx="8361170" cy="4574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2906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C6FAB8F-E1B4-C24B-AAFF-89A26F661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39" y="256841"/>
            <a:ext cx="7886700" cy="8380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248C1F9-4FF4-0147-A08B-97CE7B520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939" y="1253331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4778FC-0046-8B48-AAA2-0D6F82EB46BD}"/>
              </a:ext>
            </a:extLst>
          </p:cNvPr>
          <p:cNvCxnSpPr>
            <a:cxnSpLocks/>
          </p:cNvCxnSpPr>
          <p:nvPr userDrawn="1"/>
        </p:nvCxnSpPr>
        <p:spPr>
          <a:xfrm>
            <a:off x="452687" y="1100891"/>
            <a:ext cx="436146" cy="0"/>
          </a:xfrm>
          <a:prstGeom prst="line">
            <a:avLst/>
          </a:prstGeom>
          <a:ln w="28575" cap="rnd">
            <a:solidFill>
              <a:srgbClr val="8DC6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31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4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550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4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50920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0"/>
          <a:stretch/>
        </p:blipFill>
        <p:spPr>
          <a:xfrm>
            <a:off x="3275216" y="-2049"/>
            <a:ext cx="5868785" cy="6860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28646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7" y="1656196"/>
            <a:ext cx="8353233" cy="4511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1515919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4602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7" y="1833032"/>
            <a:ext cx="8353233" cy="4334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87687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4" y="1660526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6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70414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4" y="1828800"/>
            <a:ext cx="4097192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0"/>
            <a:ext cx="4096800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89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660524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4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28462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425805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3969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tx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414931864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6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487018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1" y="0"/>
            <a:ext cx="914400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00" y="2886676"/>
            <a:ext cx="4716000" cy="108465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39468" y="6476563"/>
            <a:ext cx="658887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i="1" dirty="0">
                <a:solidFill>
                  <a:schemeClr val="bg1"/>
                </a:solidFill>
              </a:rPr>
              <a:t>©2016 FIS and/or its subsidiaries. All Rights Reserved.</a:t>
            </a:r>
            <a:r>
              <a:rPr lang="en-US" sz="600" b="1" i="1" baseline="0" dirty="0">
                <a:solidFill>
                  <a:schemeClr val="bg1"/>
                </a:solidFill>
              </a:rPr>
              <a:t> </a:t>
            </a:r>
            <a:r>
              <a:rPr lang="en-US" sz="600" b="1" i="1" dirty="0">
                <a:solidFill>
                  <a:schemeClr val="bg1"/>
                </a:solidFill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12980555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80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997265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6196765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957198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B70CA18-3353-4D79-9AEA-25A0BF69D7A9}"/>
              </a:ext>
            </a:extLst>
          </p:cNvPr>
          <p:cNvCxnSpPr>
            <a:cxnSpLocks/>
          </p:cNvCxnSpPr>
          <p:nvPr/>
        </p:nvCxnSpPr>
        <p:spPr>
          <a:xfrm>
            <a:off x="382590" y="2737763"/>
            <a:ext cx="1181807" cy="0"/>
          </a:xfrm>
          <a:prstGeom prst="line">
            <a:avLst/>
          </a:prstGeom>
          <a:ln w="76200" cap="rnd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4594FA3-D5B9-4624-A741-D95C8DF5E93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820402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0232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4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929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0388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4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29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14406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j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2413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4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29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2437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eo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2414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4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29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998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828800"/>
            <a:ext cx="4097192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0"/>
            <a:ext cx="4096800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74903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4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29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47979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dar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9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29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28919435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9"/>
            <a:ext cx="6012000" cy="1833019"/>
          </a:xfrm>
        </p:spPr>
        <p:txBody>
          <a:bodyPr anchor="b" anchorCtr="0">
            <a:noAutofit/>
          </a:bodyPr>
          <a:lstStyle>
            <a:lvl1pPr>
              <a:defRPr sz="3572" spc="-71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29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29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29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414856011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572">
                <a:solidFill>
                  <a:schemeClr val="bg1"/>
                </a:solidFill>
              </a:defRPr>
            </a:lvl1pPr>
          </a:lstStyle>
          <a:p>
            <a:r>
              <a:rPr lang="fi-FI"/>
              <a:t>Section #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714" b="1">
                <a:solidFill>
                  <a:srgbClr val="FFFFFF"/>
                </a:solidFill>
              </a:defRPr>
            </a:lvl1pPr>
            <a:lvl2pPr marL="326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3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9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32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86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12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Type section tit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6" y="-1587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88753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572">
                <a:solidFill>
                  <a:schemeClr val="bg1"/>
                </a:solidFill>
              </a:defRPr>
            </a:lvl1pPr>
          </a:lstStyle>
          <a:p>
            <a:r>
              <a:rPr lang="fi-FI"/>
              <a:t>Section #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0575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714" b="1">
                <a:solidFill>
                  <a:srgbClr val="FFFFFF"/>
                </a:solidFill>
              </a:defRPr>
            </a:lvl1pPr>
            <a:lvl2pPr marL="326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3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9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32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86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12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Type section tit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602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940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j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403"/>
            <a:ext cx="2880000" cy="910101"/>
          </a:xfrm>
        </p:spPr>
        <p:txBody>
          <a:bodyPr>
            <a:noAutofit/>
          </a:bodyPr>
          <a:lstStyle>
            <a:lvl1pPr>
              <a:defRPr sz="3572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Section #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5384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714" b="1">
                <a:solidFill>
                  <a:srgbClr val="FFFFFF"/>
                </a:solidFill>
              </a:defRPr>
            </a:lvl1pPr>
            <a:lvl2pPr marL="326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3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9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32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86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12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Type section title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6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73553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6" y="1656196"/>
            <a:ext cx="8353233" cy="4511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898875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7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28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6" y="1833032"/>
            <a:ext cx="8353233" cy="4334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71477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4" y="1660527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7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891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82"/>
            <a:ext cx="8361170" cy="642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81000" y="1153704"/>
            <a:ext cx="8362758" cy="319936"/>
          </a:xfrm>
          <a:solidFill>
            <a:srgbClr val="004F59"/>
          </a:solidFill>
        </p:spPr>
        <p:txBody>
          <a:bodyPr vert="horz" lIns="36576" tIns="36576" rIns="36576" bIns="36576" rtlCol="0" anchor="ctr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382589" y="4170898"/>
            <a:ext cx="8382687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82589" y="1780204"/>
            <a:ext cx="8382687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3878952" y="1852327"/>
            <a:ext cx="4886325" cy="208790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3878952" y="4243042"/>
            <a:ext cx="4886325" cy="208790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31642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6322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82"/>
            <a:ext cx="8361170" cy="642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81000" y="1153708"/>
            <a:ext cx="3826258" cy="503999"/>
          </a:xfrm>
          <a:solidFill>
            <a:srgbClr val="004F59"/>
          </a:solidFill>
        </p:spPr>
        <p:txBody>
          <a:bodyPr vert="horz" lIns="36576" tIns="108000" rIns="36576" bIns="36576" rtlCol="0" anchor="t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2588" y="3292624"/>
            <a:ext cx="3824670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381001" y="3364749"/>
            <a:ext cx="3826258" cy="2859443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4917501" y="1153704"/>
            <a:ext cx="3826258" cy="504000"/>
          </a:xfrm>
          <a:solidFill>
            <a:srgbClr val="004F59"/>
          </a:solidFill>
        </p:spPr>
        <p:txBody>
          <a:bodyPr vert="horz" lIns="36576" tIns="108000" rIns="36576" bIns="36576" rtlCol="0" anchor="t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919087" y="3292624"/>
            <a:ext cx="3824670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5"/>
          <p:cNvSpPr>
            <a:spLocks noGrp="1"/>
          </p:cNvSpPr>
          <p:nvPr>
            <p:ph type="body" sz="quarter" idx="28"/>
          </p:nvPr>
        </p:nvSpPr>
        <p:spPr>
          <a:xfrm>
            <a:off x="4917501" y="3364749"/>
            <a:ext cx="3826258" cy="2859443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933744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82"/>
            <a:ext cx="8361170" cy="642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81000" y="1153704"/>
            <a:ext cx="8362758" cy="319936"/>
          </a:xfrm>
          <a:solidFill>
            <a:srgbClr val="004F59"/>
          </a:solidFill>
        </p:spPr>
        <p:txBody>
          <a:bodyPr vert="horz" lIns="36576" tIns="36576" rIns="36576" bIns="36576" rtlCol="0" anchor="ctr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382589" y="3370184"/>
            <a:ext cx="8382687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82589" y="4931079"/>
            <a:ext cx="8382687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82589" y="1780204"/>
            <a:ext cx="8382687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3878952" y="1852333"/>
            <a:ext cx="4886325" cy="1331913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25"/>
          </p:nvPr>
        </p:nvSpPr>
        <p:spPr>
          <a:xfrm>
            <a:off x="3878952" y="3427778"/>
            <a:ext cx="4886325" cy="1331913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3878952" y="5003229"/>
            <a:ext cx="4886325" cy="1331913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Click to edit Master text styles</a:t>
            </a:r>
          </a:p>
          <a:p>
            <a:pPr lvl="1"/>
            <a:r>
              <a:rPr lang="nl-BE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8016212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82"/>
            <a:ext cx="8361170" cy="642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81000" y="1153704"/>
            <a:ext cx="3816564" cy="319936"/>
          </a:xfrm>
          <a:solidFill>
            <a:srgbClr val="004F59"/>
          </a:solidFill>
        </p:spPr>
        <p:txBody>
          <a:bodyPr vert="horz" lIns="36576" tIns="36576" rIns="36576" bIns="36576" rtlCol="0" anchor="ctr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2588" y="1780204"/>
            <a:ext cx="3814976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390526" y="1852327"/>
            <a:ext cx="3807039" cy="164756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First name + last name + role + fir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4927194" y="1153704"/>
            <a:ext cx="3816564" cy="319936"/>
          </a:xfrm>
          <a:solidFill>
            <a:srgbClr val="004F59"/>
          </a:solidFill>
        </p:spPr>
        <p:txBody>
          <a:bodyPr vert="horz" lIns="36576" tIns="36576" rIns="36576" bIns="36576" rtlCol="0" anchor="ctr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8" hasCustomPrompt="1"/>
          </p:nvPr>
        </p:nvSpPr>
        <p:spPr>
          <a:xfrm>
            <a:off x="4927195" y="1852327"/>
            <a:ext cx="1700103" cy="164756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First name + last name + role + firm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919257" y="1780204"/>
            <a:ext cx="1708040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8"/>
          <p:cNvSpPr>
            <a:spLocks noGrp="1"/>
          </p:cNvSpPr>
          <p:nvPr>
            <p:ph type="body" sz="quarter" idx="29"/>
          </p:nvPr>
        </p:nvSpPr>
        <p:spPr>
          <a:xfrm>
            <a:off x="381000" y="3719513"/>
            <a:ext cx="3816564" cy="319936"/>
          </a:xfrm>
          <a:solidFill>
            <a:srgbClr val="004F59"/>
          </a:solidFill>
        </p:spPr>
        <p:txBody>
          <a:bodyPr vert="horz" lIns="36576" tIns="36576" rIns="36576" bIns="36576" rtlCol="0" anchor="ctr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31"/>
          </p:nvPr>
        </p:nvSpPr>
        <p:spPr>
          <a:xfrm>
            <a:off x="4927194" y="3719513"/>
            <a:ext cx="3816564" cy="319936"/>
          </a:xfrm>
          <a:solidFill>
            <a:srgbClr val="004F59"/>
          </a:solidFill>
        </p:spPr>
        <p:txBody>
          <a:bodyPr vert="horz" lIns="36576" tIns="36576" rIns="36576" bIns="36576" rtlCol="0" anchor="ctr">
            <a:normAutofit/>
          </a:bodyPr>
          <a:lstStyle>
            <a:lvl1pPr marL="0" indent="-129270">
              <a:spcBef>
                <a:spcPts val="429"/>
              </a:spcBef>
              <a:buNone/>
              <a:defRPr lang="en-US" sz="857" dirty="0" smtClean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text styles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927195" y="4418136"/>
            <a:ext cx="3807039" cy="164756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 baseline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First name + last name + previous biz &gt;&gt; new biz + ro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919258" y="4346013"/>
            <a:ext cx="3814976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7026194" y="1780204"/>
            <a:ext cx="1708040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7032391" y="1852327"/>
            <a:ext cx="1700103" cy="164756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 baseline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First name + last name + retirement date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98462" y="4418136"/>
            <a:ext cx="1700103" cy="164756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First name + last name + new role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90526" y="4346013"/>
            <a:ext cx="1708040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2497461" y="4346013"/>
            <a:ext cx="1708040" cy="0"/>
          </a:xfrm>
          <a:prstGeom prst="line">
            <a:avLst/>
          </a:prstGeom>
          <a:ln w="12700" cmpd="sng">
            <a:solidFill>
              <a:srgbClr val="8DC6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503660" y="4418136"/>
            <a:ext cx="1700103" cy="1647568"/>
          </a:xfrm>
        </p:spPr>
        <p:txBody>
          <a:bodyPr lIns="36000" tIns="36000" rIns="36000" bIns="36000">
            <a:normAutofit/>
          </a:bodyPr>
          <a:lstStyle>
            <a:lvl1pPr marL="77144" indent="-77144">
              <a:spcBef>
                <a:spcPts val="143"/>
              </a:spcBef>
              <a:buSzPct val="80000"/>
              <a:defRPr sz="571" b="0" baseline="0"/>
            </a:lvl1pPr>
            <a:lvl2pPr marL="154289" indent="-77144">
              <a:spcBef>
                <a:spcPts val="71"/>
              </a:spcBef>
              <a:defRPr sz="571" b="0"/>
            </a:lvl2pPr>
          </a:lstStyle>
          <a:p>
            <a:pPr lvl="0"/>
            <a:r>
              <a:rPr lang="nl-BE"/>
              <a:t>First name + last name + host location + end date</a:t>
            </a:r>
          </a:p>
        </p:txBody>
      </p:sp>
    </p:spTree>
    <p:extLst>
      <p:ext uri="{BB962C8B-B14F-4D97-AF65-F5344CB8AC3E}">
        <p14:creationId xmlns:p14="http://schemas.microsoft.com/office/powerpoint/2010/main" val="70899164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4" y="1828800"/>
            <a:ext cx="4097192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0"/>
            <a:ext cx="4096800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7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28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534189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2324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9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82588" y="993871"/>
            <a:ext cx="8361362" cy="684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86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09304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90883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286">
                <a:solidFill>
                  <a:srgbClr val="000000"/>
                </a:solidFill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286">
                <a:solidFill>
                  <a:srgbClr val="000000"/>
                </a:solidFill>
              </a:endParaRPr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571">
                <a:solidFill>
                  <a:schemeClr val="tx2"/>
                </a:solidFill>
              </a:defRPr>
            </a:lvl1pPr>
            <a:lvl2pPr marL="63501" indent="0">
              <a:buFontTx/>
              <a:buNone/>
              <a:defRPr sz="2571"/>
            </a:lvl2pPr>
            <a:lvl3pPr marL="191637" indent="0">
              <a:buFontTx/>
              <a:buNone/>
              <a:defRPr sz="2571"/>
            </a:lvl3pPr>
            <a:lvl4pPr marL="319774" indent="0">
              <a:buFontTx/>
              <a:buNone/>
              <a:defRPr sz="2571"/>
            </a:lvl4pPr>
            <a:lvl5pPr marL="447910" indent="0">
              <a:buFontTx/>
              <a:buNone/>
              <a:defRPr sz="2571"/>
            </a:lvl5pPr>
          </a:lstStyle>
          <a:p>
            <a:pPr lvl="0"/>
            <a:r>
              <a:rPr lang="fi-FI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1006219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2"/>
            <a:ext cx="7460544" cy="4764638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bg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286">
                <a:solidFill>
                  <a:srgbClr val="000000"/>
                </a:solidFill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286">
                <a:solidFill>
                  <a:srgbClr val="000000"/>
                </a:solidFill>
              </a:endParaRPr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571">
                <a:solidFill>
                  <a:schemeClr val="bg2"/>
                </a:solidFill>
              </a:defRPr>
            </a:lvl1pPr>
            <a:lvl2pPr marL="63501" indent="0">
              <a:buFontTx/>
              <a:buNone/>
              <a:defRPr sz="2571"/>
            </a:lvl2pPr>
            <a:lvl3pPr marL="191637" indent="0">
              <a:buFontTx/>
              <a:buNone/>
              <a:defRPr sz="2571"/>
            </a:lvl3pPr>
            <a:lvl4pPr marL="319774" indent="0">
              <a:buFontTx/>
              <a:buNone/>
              <a:defRPr sz="2571"/>
            </a:lvl4pPr>
            <a:lvl5pPr marL="447910" indent="0">
              <a:buFontTx/>
              <a:buNone/>
              <a:defRPr sz="2571"/>
            </a:lvl5pPr>
          </a:lstStyle>
          <a:p>
            <a:pPr lvl="0"/>
            <a:r>
              <a:rPr lang="fi-FI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83288099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856145" y="1084757"/>
            <a:ext cx="7460544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286">
                <a:solidFill>
                  <a:srgbClr val="000000"/>
                </a:solidFill>
              </a:endParaRPr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286">
                <a:solidFill>
                  <a:srgbClr val="000000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571">
                <a:solidFill>
                  <a:schemeClr val="accent3"/>
                </a:solidFill>
              </a:defRPr>
            </a:lvl1pPr>
            <a:lvl2pPr marL="63501" indent="0">
              <a:buFontTx/>
              <a:buNone/>
              <a:defRPr sz="2571"/>
            </a:lvl2pPr>
            <a:lvl3pPr marL="191637" indent="0">
              <a:buFontTx/>
              <a:buNone/>
              <a:defRPr sz="2571"/>
            </a:lvl3pPr>
            <a:lvl4pPr marL="319774" indent="0">
              <a:buFontTx/>
              <a:buNone/>
              <a:defRPr sz="2571"/>
            </a:lvl4pPr>
            <a:lvl5pPr marL="447910" indent="0">
              <a:buFontTx/>
              <a:buNone/>
              <a:defRPr sz="2571"/>
            </a:lvl5pPr>
          </a:lstStyle>
          <a:p>
            <a:pPr lvl="0"/>
            <a:r>
              <a:rPr lang="fi-FI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8619097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2795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7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9" y="1655764"/>
            <a:ext cx="4052750" cy="45116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531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/>
              <a:t>Click icon to add picture</a:t>
            </a:r>
            <a:br>
              <a:rPr lang="fi-FI"/>
            </a:br>
            <a:br>
              <a:rPr lang="fi-FI"/>
            </a:br>
            <a:r>
              <a:rPr lang="en-US" cap="none" baseline="0"/>
              <a:t>Go to the speaker notes of this slide for instructions on how to add pictures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4527293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1" y="0"/>
            <a:ext cx="914400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00" y="2886677"/>
            <a:ext cx="4716000" cy="108465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39468" y="6476563"/>
            <a:ext cx="6588879" cy="1801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71" b="1" i="1">
                <a:solidFill>
                  <a:srgbClr val="FFFFFF"/>
                </a:solidFill>
              </a:rPr>
              <a:t>©2015 FIS and/or its subsidiaries. All Rights Reserved. </a:t>
            </a:r>
            <a:r>
              <a:rPr lang="en-US" sz="571" b="1" i="1">
                <a:solidFill>
                  <a:srgbClr val="FFFFFF"/>
                </a:solidFill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259244872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hit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8"/>
            <a:ext cx="6012000" cy="1833019"/>
          </a:xfrm>
        </p:spPr>
        <p:txBody>
          <a:bodyPr anchor="b" anchorCtr="0">
            <a:noAutofit/>
          </a:bodyPr>
          <a:lstStyle>
            <a:lvl1pPr>
              <a:defRPr sz="4762" spc="-95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tit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015773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905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6191584"/>
            <a:ext cx="2833200" cy="28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38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err="1"/>
              <a:t>Date</a:t>
            </a:r>
            <a:endParaRPr lang="fi-FI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894868"/>
            <a:ext cx="4680000" cy="288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3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9BFEFE-ED8F-481F-9906-10C2B41E8C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538" y="5782131"/>
            <a:ext cx="2404926" cy="73749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4A1F45-682E-4631-A1E3-E346308B4165}"/>
              </a:ext>
            </a:extLst>
          </p:cNvPr>
          <p:cNvCxnSpPr/>
          <p:nvPr userDrawn="1"/>
        </p:nvCxnSpPr>
        <p:spPr>
          <a:xfrm>
            <a:off x="382589" y="2836207"/>
            <a:ext cx="1040967" cy="0"/>
          </a:xfrm>
          <a:prstGeom prst="line">
            <a:avLst/>
          </a:prstGeom>
          <a:ln w="76200" cap="rnd">
            <a:solidFill>
              <a:srgbClr val="92D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95043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96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tx2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6990781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2"/>
            <a:ext cx="7460544" cy="4764638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bg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2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998461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23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856145" y="1084757"/>
            <a:ext cx="7460544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0779020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4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576939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2" y="0"/>
            <a:ext cx="914400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00" y="2886674"/>
            <a:ext cx="4716000" cy="108465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39468" y="6476563"/>
            <a:ext cx="65888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dirty="0">
                <a:solidFill>
                  <a:schemeClr val="bg1"/>
                </a:solidFill>
              </a:rPr>
              <a:t>©2015 FIS and/or its subsidiaries. All Rights Reserved.</a:t>
            </a:r>
            <a:r>
              <a:rPr lang="en-US" sz="800" b="1" i="1" baseline="0" dirty="0">
                <a:solidFill>
                  <a:schemeClr val="bg1"/>
                </a:solidFill>
              </a:rPr>
              <a:t> </a:t>
            </a:r>
            <a:r>
              <a:rPr lang="en-US" sz="800" b="1" i="1" dirty="0">
                <a:solidFill>
                  <a:schemeClr val="bg1"/>
                </a:solidFill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25955618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Tea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23" t="6357" r="13384" b="28134"/>
          <a:stretch/>
        </p:blipFill>
        <p:spPr>
          <a:xfrm>
            <a:off x="-1" y="2"/>
            <a:ext cx="9144001" cy="67549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11"/>
          <a:stretch/>
        </p:blipFill>
        <p:spPr>
          <a:xfrm>
            <a:off x="350045" y="6353177"/>
            <a:ext cx="533957" cy="3537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1058291"/>
            <a:ext cx="4538774" cy="2612888"/>
          </a:xfrm>
        </p:spPr>
        <p:txBody>
          <a:bodyPr anchor="b" anchorCtr="0">
            <a:normAutofit/>
          </a:bodyPr>
          <a:lstStyle>
            <a:lvl1pPr>
              <a:lnSpc>
                <a:spcPts val="3300"/>
              </a:lnSpc>
              <a:defRPr sz="3000">
                <a:solidFill>
                  <a:srgbClr val="8DC6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5691705" y="-178239"/>
            <a:ext cx="5472318" cy="7296424"/>
          </a:xfrm>
          <a:prstGeom prst="ellipse">
            <a:avLst/>
          </a:prstGeom>
          <a:gradFill flip="none" rotWithShape="1">
            <a:gsLst>
              <a:gs pos="15000">
                <a:schemeClr val="bg1">
                  <a:alpha val="7000"/>
                </a:schemeClr>
              </a:gs>
              <a:gs pos="100000">
                <a:schemeClr val="bg1">
                  <a:alpha val="7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 err="1"/>
          </a:p>
        </p:txBody>
      </p:sp>
      <p:pic>
        <p:nvPicPr>
          <p:cNvPr id="11" name="Picture 10" descr="Circle White.png"/>
          <p:cNvPicPr>
            <a:picLocks noChangeAspect="1"/>
          </p:cNvPicPr>
          <p:nvPr userDrawn="1"/>
        </p:nvPicPr>
        <p:blipFill>
          <a:blip r:embed="rId4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6" y="604385"/>
            <a:ext cx="4293090" cy="572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70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822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0174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ja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2413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775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eometr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2414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9184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462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6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3948949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ja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2413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2115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6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24737257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5" y="-1587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6016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dark te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0575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600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148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ja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400"/>
            <a:ext cx="2880000" cy="910101"/>
          </a:xfrm>
        </p:spPr>
        <p:txBody>
          <a:bodyPr>
            <a:noAutofit/>
          </a:bodyPr>
          <a:lstStyle>
            <a:lvl1pPr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5384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5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3808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6" y="1656196"/>
            <a:ext cx="8353233" cy="4511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7723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6" y="1833032"/>
            <a:ext cx="8353233" cy="4334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64280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660524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4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6953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828800"/>
            <a:ext cx="4097192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0"/>
            <a:ext cx="4096800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18697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7223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1089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eometr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2414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2502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299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tx2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35710967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2"/>
            <a:ext cx="7460544" cy="4764638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bg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2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6843400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856145" y="1084757"/>
            <a:ext cx="7460544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accent3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2346551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4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588889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2" y="0"/>
            <a:ext cx="914400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00" y="2886674"/>
            <a:ext cx="4716000" cy="108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9545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00" y="1512000"/>
            <a:ext cx="8391300" cy="1800000"/>
          </a:xfrm>
        </p:spPr>
        <p:txBody>
          <a:bodyPr anchor="t"/>
          <a:lstStyle>
            <a:lvl1pPr algn="l">
              <a:defRPr sz="2800" b="1" cap="none" baseline="0"/>
            </a:lvl1pPr>
          </a:lstStyle>
          <a:p>
            <a:r>
              <a:rPr lang="en-US" dirty="0"/>
              <a:t>Click to edit Section title style</a:t>
            </a:r>
            <a:br>
              <a:rPr lang="en-US" dirty="0"/>
            </a:br>
            <a:r>
              <a:rPr lang="en-US" dirty="0"/>
              <a:t>(Arial Bold, Black 28pt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4000" y="6451200"/>
            <a:ext cx="360000" cy="180000"/>
          </a:xfrm>
          <a:prstGeom prst="rect">
            <a:avLst/>
          </a:prstGeom>
        </p:spPr>
        <p:txBody>
          <a:bodyPr/>
          <a:lstStyle/>
          <a:p>
            <a:fld id="{DD2A6615-78B2-466E-BF5C-F272FE3E8002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pPr/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17021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42282822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11523415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ja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2413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2246864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0493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2129657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7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9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14176104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62"/>
          <a:stretch/>
        </p:blipFill>
        <p:spPr>
          <a:xfrm>
            <a:off x="3275216" y="0"/>
            <a:ext cx="5881413" cy="6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957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dark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0575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602" y="0"/>
            <a:ext cx="5868785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7" r="5235"/>
          <a:stretch/>
        </p:blipFill>
        <p:spPr>
          <a:xfrm>
            <a:off x="3276601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2494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ja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400"/>
            <a:ext cx="2880000" cy="910101"/>
          </a:xfrm>
        </p:spPr>
        <p:txBody>
          <a:bodyPr>
            <a:noAutofit/>
          </a:bodyPr>
          <a:lstStyle>
            <a:lvl1pPr>
              <a:defRPr sz="375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5384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61"/>
          <a:stretch/>
        </p:blipFill>
        <p:spPr>
          <a:xfrm>
            <a:off x="3275216" y="0"/>
            <a:ext cx="58687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942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ja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400"/>
            <a:ext cx="2880000" cy="910101"/>
          </a:xfrm>
        </p:spPr>
        <p:txBody>
          <a:bodyPr>
            <a:noAutofit/>
          </a:bodyPr>
          <a:lstStyle>
            <a:lvl1pPr>
              <a:defRPr sz="375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5384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61"/>
          <a:stretch/>
        </p:blipFill>
        <p:spPr>
          <a:xfrm>
            <a:off x="3275216" y="0"/>
            <a:ext cx="5868784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28" r="5095"/>
          <a:stretch/>
        </p:blipFill>
        <p:spPr>
          <a:xfrm>
            <a:off x="3343564" y="0"/>
            <a:ext cx="58130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17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8" y="1656196"/>
            <a:ext cx="8353233" cy="4511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009317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33033"/>
            <a:ext cx="8353233" cy="4334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277550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660525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5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3734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828801"/>
            <a:ext cx="4097192" cy="4338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1"/>
            <a:ext cx="4096800" cy="4338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2246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6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37092294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5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202023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8881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85079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456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>
                <a:solidFill>
                  <a:prstClr val="black"/>
                </a:solidFill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>
                <a:solidFill>
                  <a:prstClr val="black"/>
                </a:solidFill>
              </a:endParaRPr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tx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3445259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3"/>
            <a:ext cx="7460544" cy="4764639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>
                <a:solidFill>
                  <a:prstClr val="black"/>
                </a:solidFill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>
                <a:solidFill>
                  <a:prstClr val="black"/>
                </a:solidFill>
              </a:endParaRPr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accent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0933065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856145" y="1084758"/>
            <a:ext cx="7460544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3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>
                <a:solidFill>
                  <a:prstClr val="black"/>
                </a:solidFill>
              </a:endParaRPr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>
                <a:solidFill>
                  <a:prstClr val="black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accent3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4222351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Teal Quo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538" y="5717701"/>
            <a:ext cx="2404926" cy="737492"/>
          </a:xfrm>
          <a:prstGeom prst="rect">
            <a:avLst/>
          </a:prstGeom>
        </p:spPr>
      </p:pic>
      <p:grpSp>
        <p:nvGrpSpPr>
          <p:cNvPr id="5" name="Ryhmä 1"/>
          <p:cNvGrpSpPr/>
          <p:nvPr userDrawn="1"/>
        </p:nvGrpSpPr>
        <p:grpSpPr>
          <a:xfrm>
            <a:off x="856145" y="1089791"/>
            <a:ext cx="7460544" cy="4832683"/>
            <a:chOff x="856145" y="813567"/>
            <a:chExt cx="7460544" cy="3623407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800" dirty="0"/>
            </a:p>
          </p:txBody>
        </p:sp>
        <p:sp>
          <p:nvSpPr>
            <p:cNvPr id="7" name="Oval 7"/>
            <p:cNvSpPr>
              <a:spLocks noChangeArrowheads="1"/>
            </p:cNvSpPr>
            <p:nvPr/>
          </p:nvSpPr>
          <p:spPr bwMode="auto">
            <a:xfrm>
              <a:off x="6403321" y="4258789"/>
              <a:ext cx="173191" cy="17818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800" dirty="0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400">
                <a:solidFill>
                  <a:schemeClr val="bg1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endParaRPr lang="en-US" dirty="0"/>
          </a:p>
          <a:p>
            <a:pPr lvl="0"/>
            <a:r>
              <a:rPr lang="en-US" dirty="0"/>
              <a:t>Type quote and adapt</a:t>
            </a:r>
          </a:p>
          <a:p>
            <a:pPr lvl="0"/>
            <a:r>
              <a:rPr lang="en-US" dirty="0"/>
              <a:t>font size if necessary.</a:t>
            </a:r>
            <a:br>
              <a:rPr lang="en-US" dirty="0"/>
            </a:b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896053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712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079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6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13983941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ja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9142413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3254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eometr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2414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1539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3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1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6464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7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9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1992601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7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9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37935424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7" y="-1587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5543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dark te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0575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602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849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ja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400"/>
            <a:ext cx="2880000" cy="910101"/>
          </a:xfrm>
        </p:spPr>
        <p:txBody>
          <a:bodyPr>
            <a:noAutofit/>
          </a:bodyPr>
          <a:lstStyle>
            <a:lvl1pPr>
              <a:defRPr sz="375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5384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7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2613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8" y="1656196"/>
            <a:ext cx="8353233" cy="4511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30873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33033"/>
            <a:ext cx="8353233" cy="4334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064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215" y="-1587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9145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660525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5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4776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828801"/>
            <a:ext cx="4097192" cy="4338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1"/>
            <a:ext cx="4096800" cy="4338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5008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5029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7295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379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tx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37754922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dark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3"/>
            <a:ext cx="7460544" cy="4764639"/>
            <a:chOff x="856145" y="813567"/>
            <a:chExt cx="7460544" cy="359627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bg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550"/>
              <a:ext cx="185933" cy="14129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bg2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47262317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Ryhmä 1"/>
          <p:cNvGrpSpPr/>
          <p:nvPr userDrawn="1"/>
        </p:nvGrpSpPr>
        <p:grpSpPr>
          <a:xfrm>
            <a:off x="856145" y="1084758"/>
            <a:ext cx="7460544" cy="4793660"/>
            <a:chOff x="856145" y="813567"/>
            <a:chExt cx="7460544" cy="3595246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chemeClr val="accent2">
                  <a:alpha val="7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6391864" y="4268413"/>
              <a:ext cx="185933" cy="1404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50"/>
            </a:p>
          </p:txBody>
        </p:sp>
      </p:grpSp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71600" y="1219202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accent3"/>
                </a:solidFill>
              </a:defRPr>
            </a:lvl1pPr>
            <a:lvl2pPr marL="66675" indent="0">
              <a:buFontTx/>
              <a:buNone/>
              <a:defRPr sz="2700"/>
            </a:lvl2pPr>
            <a:lvl3pPr marL="201215" indent="0">
              <a:buFontTx/>
              <a:buNone/>
              <a:defRPr sz="2700"/>
            </a:lvl3pPr>
            <a:lvl4pPr marL="335756" indent="0">
              <a:buFontTx/>
              <a:buNone/>
              <a:defRPr sz="2700"/>
            </a:lvl4pPr>
            <a:lvl5pPr marL="470297" indent="0">
              <a:buFontTx/>
              <a:buNone/>
              <a:defRPr sz="27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42786695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5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553491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2" y="0"/>
            <a:ext cx="914400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00" y="2886675"/>
            <a:ext cx="4716000" cy="108465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39468" y="6476563"/>
            <a:ext cx="658887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i="1" dirty="0">
                <a:solidFill>
                  <a:schemeClr val="bg1"/>
                </a:solidFill>
              </a:rPr>
              <a:t>©2015 FIS and/or its subsidiaries. All Rights Reserved.</a:t>
            </a:r>
            <a:r>
              <a:rPr lang="en-US" sz="600" b="1" i="1" baseline="0" dirty="0">
                <a:solidFill>
                  <a:schemeClr val="bg1"/>
                </a:solidFill>
              </a:rPr>
              <a:t> </a:t>
            </a:r>
            <a:r>
              <a:rPr lang="en-US" sz="600" b="1" i="1" dirty="0">
                <a:solidFill>
                  <a:schemeClr val="bg1"/>
                </a:solidFill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944312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dark te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8" y="1580575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600" y="0"/>
            <a:ext cx="5868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6190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9144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177" y="5391703"/>
            <a:ext cx="2230488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5928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9144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, tit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177" y="5391703"/>
            <a:ext cx="2230488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8191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ja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9142413" cy="9144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177" y="5391703"/>
            <a:ext cx="2230488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1979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eometr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23" y="1"/>
            <a:ext cx="9141714" cy="91433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177" y="5391703"/>
            <a:ext cx="2230488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9316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3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5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177" y="5391703"/>
            <a:ext cx="2230488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1198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7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9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7" y="4988800"/>
            <a:ext cx="9141714" cy="164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261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7"/>
            <a:ext cx="6012000" cy="1833019"/>
          </a:xfrm>
        </p:spPr>
        <p:txBody>
          <a:bodyPr anchor="b" anchorCtr="0">
            <a:noAutofit/>
          </a:bodyPr>
          <a:lstStyle>
            <a:lvl1pPr>
              <a:defRPr sz="3750" spc="-75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9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7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7" y="4988800"/>
            <a:ext cx="9141714" cy="164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530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8" y="1656196"/>
            <a:ext cx="8353233" cy="45112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425353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8" y="1833033"/>
            <a:ext cx="8353233" cy="43344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720335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4" y="1660526"/>
            <a:ext cx="4097192" cy="4506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6"/>
            <a:ext cx="4096800" cy="4506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348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1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9.xml"/><Relationship Id="rId9" Type="http://schemas.openxmlformats.org/officeDocument/2006/relationships/image" Target="../media/image2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image" Target="../media/image31.emf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 err="1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6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2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296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59" r:id="rId2"/>
    <p:sldLayoutId id="2147483760" r:id="rId3"/>
    <p:sldLayoutId id="2147483789" r:id="rId4"/>
    <p:sldLayoutId id="2147483788" r:id="rId5"/>
    <p:sldLayoutId id="2147483790" r:id="rId6"/>
    <p:sldLayoutId id="2147483791" r:id="rId7"/>
    <p:sldLayoutId id="2147483752" r:id="rId8"/>
    <p:sldLayoutId id="2147483753" r:id="rId9"/>
    <p:sldLayoutId id="2147483754" r:id="rId10"/>
    <p:sldLayoutId id="2147483720" r:id="rId11"/>
    <p:sldLayoutId id="2147483731" r:id="rId12"/>
    <p:sldLayoutId id="2147483721" r:id="rId13"/>
    <p:sldLayoutId id="2147483737" r:id="rId14"/>
    <p:sldLayoutId id="2147483764" r:id="rId15"/>
    <p:sldLayoutId id="2147483723" r:id="rId16"/>
    <p:sldLayoutId id="2147483724" r:id="rId17"/>
    <p:sldLayoutId id="2147483734" r:id="rId18"/>
    <p:sldLayoutId id="2147483736" r:id="rId19"/>
    <p:sldLayoutId id="2147483735" r:id="rId20"/>
    <p:sldLayoutId id="2147483730" r:id="rId21"/>
    <p:sldLayoutId id="2147483751" r:id="rId22"/>
    <p:sldLayoutId id="2147483885" r:id="rId23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marR="0" indent="-18097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marR="0" indent="-180975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4572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6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2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51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  <p:sldLayoutId id="2147483816" r:id="rId23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marR="0" indent="-18097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marR="0" indent="-180975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4572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200" b="1" dirty="0" err="1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7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3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80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</p:sldLayoutIdLst>
  <p:hf hdr="0" dt="0"/>
  <p:txStyles>
    <p:titleStyle>
      <a:lvl1pPr algn="l" defTabSz="342900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marR="0" indent="-135731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Lucida Grande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marR="0" indent="-135731" algn="l" defTabSz="6858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470297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604838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135000" algn="l" defTabSz="3429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200" b="1" dirty="0" err="1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7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3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453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</p:sldLayoutIdLst>
  <p:hf hdr="0" dt="0"/>
  <p:txStyles>
    <p:titleStyle>
      <a:lvl1pPr algn="l" defTabSz="342900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marR="0" indent="-135731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Lucida Grande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marR="0" indent="-135731" algn="l" defTabSz="6858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470297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604838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135000" algn="l" defTabSz="3429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200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7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204" y="6404903"/>
            <a:ext cx="46034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137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4" r:id="rId18"/>
    <p:sldLayoutId id="2147483905" r:id="rId19"/>
    <p:sldLayoutId id="2147483906" r:id="rId20"/>
    <p:sldLayoutId id="2147483907" r:id="rId21"/>
  </p:sldLayoutIdLst>
  <p:hf hdr="0" ftr="0" dt="0"/>
  <p:txStyles>
    <p:titleStyle>
      <a:lvl1pPr algn="l" defTabSz="342900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marR="0" indent="-135731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Lucida Grande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marR="0" indent="-135731" algn="l" defTabSz="6858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470297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604838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135000" algn="l" defTabSz="3429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200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42054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6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2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922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</p:sldLayoutIdLst>
  <p:hf hdr="0" ftr="0" dt="0"/>
  <p:txStyles>
    <p:titleStyle>
      <a:lvl1pPr algn="l" defTabSz="342892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728" marR="0" indent="-135728" algn="l" defTabSz="685783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1457" marR="0" indent="-135728" algn="l" defTabSz="685783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Lucida Grande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84" marR="0" indent="-135728" algn="l" defTabSz="685783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470285" marR="0" indent="-134538" algn="l" defTabSz="685783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604823" marR="0" indent="-134538" algn="l" defTabSz="685783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269993" indent="-134997" algn="l" defTabSz="342892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42892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42892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60239"/>
            <a:ext cx="8361170" cy="54148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034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47827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869" y="6368228"/>
            <a:ext cx="526106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04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9" r:id="rId6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2000" b="1" kern="1200">
          <a:solidFill>
            <a:schemeClr val="accent6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4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361950" marR="0" indent="-18097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sz="12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542925" marR="0" indent="-180975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1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627063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4572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en-US" sz="1200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6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2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045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</p:sldLayoutIdLst>
  <p:hf hdr="0" ftr="0" dt="0"/>
  <p:txStyles>
    <p:titleStyle>
      <a:lvl1pPr algn="l" defTabSz="342900" rtl="0" eaLnBrk="1" latinLnBrk="0" hangingPunct="1">
        <a:lnSpc>
          <a:spcPct val="8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marR="0" indent="-135731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Lucida Grande"/>
        <a:buChar char="–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marR="0" indent="-135731" algn="l" defTabSz="6858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470297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604838" marR="0" indent="-134541" algn="l" defTabSz="6858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135000" algn="l" defTabSz="3429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42900" rtl="0" eaLnBrk="1" latinLnBrk="0" hangingPunct="1">
        <a:lnSpc>
          <a:spcPct val="120000"/>
        </a:lnSpc>
        <a:spcBef>
          <a:spcPts val="0"/>
        </a:spcBef>
        <a:buFont typeface="Arial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5714" tIns="25714" rIns="25714" bIns="25714" rtlCol="0" anchor="ctr"/>
          <a:lstStyle/>
          <a:p>
            <a:pPr algn="ctr"/>
            <a:endParaRPr lang="en-US" sz="1143" b="1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9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4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6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</a:t>
            </a:r>
            <a:r>
              <a:rPr lang="fi-FI" err="1"/>
              <a:t>level</a:t>
            </a:r>
            <a:endParaRPr lang="fi-FI"/>
          </a:p>
          <a:p>
            <a:pPr lvl="2"/>
            <a:r>
              <a:rPr lang="fi-FI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2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51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  <p:sldLayoutId id="2147483967" r:id="rId20"/>
    <p:sldLayoutId id="2147483968" r:id="rId21"/>
    <p:sldLayoutId id="2147483969" r:id="rId22"/>
    <p:sldLayoutId id="2147483970" r:id="rId23"/>
    <p:sldLayoutId id="2147483971" r:id="rId24"/>
    <p:sldLayoutId id="2147483972" r:id="rId25"/>
    <p:sldLayoutId id="2147483973" r:id="rId26"/>
    <p:sldLayoutId id="2147483974" r:id="rId27"/>
  </p:sldLayoutIdLst>
  <p:hf hdr="0" ftr="0" dt="0"/>
  <p:txStyles>
    <p:titleStyle>
      <a:lvl1pPr algn="l" defTabSz="326578" rtl="0" eaLnBrk="1" latinLnBrk="0" hangingPunct="1">
        <a:lnSpc>
          <a:spcPct val="8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9270" marR="0" indent="-129270" algn="l" defTabSz="653156" rtl="0" eaLnBrk="1" fontAlgn="auto" latinLnBrk="0" hangingPunct="1">
        <a:lnSpc>
          <a:spcPct val="100000"/>
        </a:lnSpc>
        <a:spcBef>
          <a:spcPts val="857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143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8541" marR="0" indent="-129270" algn="l" defTabSz="653156" rtl="0" eaLnBrk="1" fontAlgn="auto" latinLnBrk="0" hangingPunct="1">
        <a:lnSpc>
          <a:spcPct val="100000"/>
        </a:lnSpc>
        <a:spcBef>
          <a:spcPts val="429"/>
        </a:spcBef>
        <a:spcAft>
          <a:spcPts val="0"/>
        </a:spcAft>
        <a:buClrTx/>
        <a:buSzTx/>
        <a:buFont typeface="Lucida Grande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87811" marR="0" indent="-129270" algn="l" defTabSz="653156" rtl="0" eaLnBrk="1" fontAlgn="auto" latinLnBrk="0" hangingPunct="1">
        <a:lnSpc>
          <a:spcPct val="100000"/>
        </a:lnSpc>
        <a:spcBef>
          <a:spcPts val="286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857" kern="1200">
          <a:solidFill>
            <a:schemeClr val="tx1"/>
          </a:solidFill>
          <a:latin typeface="+mn-lt"/>
          <a:ea typeface="+mn-ea"/>
          <a:cs typeface="+mn-cs"/>
        </a:defRPr>
      </a:lvl3pPr>
      <a:lvl4pPr marL="447911" marR="0" indent="-128137" algn="l" defTabSz="653156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714" kern="1200">
          <a:solidFill>
            <a:schemeClr val="tx1"/>
          </a:solidFill>
          <a:latin typeface="+mn-lt"/>
          <a:ea typeface="+mn-ea"/>
          <a:cs typeface="+mn-cs"/>
        </a:defRPr>
      </a:lvl4pPr>
      <a:lvl5pPr marL="576047" marR="0" indent="-128137" algn="l" defTabSz="653156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714" kern="1200">
          <a:solidFill>
            <a:schemeClr val="tx1"/>
          </a:solidFill>
          <a:latin typeface="+mn-lt"/>
          <a:ea typeface="+mn-ea"/>
          <a:cs typeface="+mn-cs"/>
        </a:defRPr>
      </a:lvl5pPr>
      <a:lvl6pPr marL="257148" indent="-128574" algn="l" defTabSz="326578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26578" rtl="0" eaLnBrk="1" latinLnBrk="0" hangingPunct="1">
        <a:lnSpc>
          <a:spcPct val="120000"/>
        </a:lnSpc>
        <a:spcBef>
          <a:spcPts val="0"/>
        </a:spcBef>
        <a:buFont typeface="Arial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2449335" indent="-163289" algn="l" defTabSz="326578" rtl="0" eaLnBrk="1" latinLnBrk="0" hangingPunct="1">
        <a:spcBef>
          <a:spcPct val="20000"/>
        </a:spcBef>
        <a:buFont typeface="Arial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26578" rtl="0" eaLnBrk="1" latinLnBrk="0" hangingPunct="1">
        <a:lnSpc>
          <a:spcPct val="120000"/>
        </a:lnSpc>
        <a:spcBef>
          <a:spcPts val="0"/>
        </a:spcBef>
        <a:buFont typeface="Arial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6578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53156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9734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306312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32890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59468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86046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612624" algn="l" defTabSz="3265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2331" y="669302"/>
            <a:ext cx="6291590" cy="11123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venir Next LT Pro Light" panose="020B0304020202020204" pitchFamily="34" charset="0"/>
              </a:rPr>
              <a:t>TDE(Transparent Data Encryption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75688" y="5753101"/>
            <a:ext cx="468312" cy="136525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2052" name="Picture 4" descr="https://miro.medium.com/max/1500/1*yFzcbxwGGAmT9M6lIuPKXg.jpeg">
            <a:extLst>
              <a:ext uri="{FF2B5EF4-FFF2-40B4-BE49-F238E27FC236}">
                <a16:creationId xmlns:a16="http://schemas.microsoft.com/office/drawing/2014/main" id="{A9E33969-22D4-4242-8B89-D668799F7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331" y="2003360"/>
            <a:ext cx="8667145" cy="34572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1771945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1C9ACB6-AF6F-4267-A935-324E0DC7F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396" y="487652"/>
            <a:ext cx="4189412" cy="434510"/>
          </a:xfrm>
        </p:spPr>
        <p:txBody>
          <a:bodyPr>
            <a:normAutofit/>
          </a:bodyPr>
          <a:lstStyle/>
          <a:p>
            <a:r>
              <a:rPr lang="en-GB" sz="2800" dirty="0"/>
              <a:t>Agend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B03960-BD5A-4CAC-A69C-AEBBECAEEC4E}"/>
              </a:ext>
            </a:extLst>
          </p:cNvPr>
          <p:cNvSpPr txBox="1"/>
          <p:nvPr/>
        </p:nvSpPr>
        <p:spPr>
          <a:xfrm>
            <a:off x="294396" y="1621410"/>
            <a:ext cx="8555208" cy="31196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200" dirty="0"/>
              <a:t>What is TDE - How it works?</a:t>
            </a:r>
          </a:p>
          <a:p>
            <a:pPr marL="342900" indent="-342900">
              <a:buAutoNum type="arabicPeriod"/>
            </a:pPr>
            <a:endParaRPr lang="en-US" sz="2200" dirty="0"/>
          </a:p>
          <a:p>
            <a:pPr marL="342900" indent="-342900">
              <a:buAutoNum type="arabicPeriod"/>
            </a:pPr>
            <a:r>
              <a:rPr lang="en-US" sz="2200" dirty="0"/>
              <a:t>Flow Chart</a:t>
            </a:r>
          </a:p>
          <a:p>
            <a:pPr marL="342900" indent="-342900">
              <a:buAutoNum type="arabicPeriod"/>
            </a:pPr>
            <a:endParaRPr lang="en-US" sz="2200" dirty="0"/>
          </a:p>
          <a:p>
            <a:pPr marL="342900" indent="-342900">
              <a:buAutoNum type="arabicPeriod"/>
            </a:pPr>
            <a:r>
              <a:rPr lang="en-US" sz="2200" dirty="0"/>
              <a:t>Best Practices</a:t>
            </a:r>
          </a:p>
          <a:p>
            <a:pPr marL="342900" indent="-342900">
              <a:buAutoNum type="arabicPeriod"/>
            </a:pPr>
            <a:endParaRPr lang="en-US" sz="2200" dirty="0"/>
          </a:p>
          <a:p>
            <a:pPr marL="342900" indent="-342900">
              <a:buAutoNum type="arabicPeriod"/>
            </a:pPr>
            <a:r>
              <a:rPr lang="en-US" sz="2200" dirty="0"/>
              <a:t>Pros - Cons</a:t>
            </a:r>
          </a:p>
          <a:p>
            <a:pPr marL="342900" indent="-342900">
              <a:buAutoNum type="arabicPeriod"/>
            </a:pPr>
            <a:endParaRPr lang="en-US" sz="2200" dirty="0"/>
          </a:p>
          <a:p>
            <a:pPr marL="342900" indent="-342900">
              <a:buAutoNum type="arabicPeriod"/>
            </a:pPr>
            <a:r>
              <a:rPr lang="en-US" sz="2200" dirty="0"/>
              <a:t>Licensing</a:t>
            </a:r>
          </a:p>
        </p:txBody>
      </p:sp>
    </p:spTree>
    <p:extLst>
      <p:ext uri="{BB962C8B-B14F-4D97-AF65-F5344CB8AC3E}">
        <p14:creationId xmlns:p14="http://schemas.microsoft.com/office/powerpoint/2010/main" val="334814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556B3-F533-4F0C-BB56-1C2B024B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DE – How it work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93074-E75A-4D7C-A54B-F905294AA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2EDAB-06B3-44B2-9D0E-B520DCCE6170}"/>
              </a:ext>
            </a:extLst>
          </p:cNvPr>
          <p:cNvSpPr txBox="1"/>
          <p:nvPr/>
        </p:nvSpPr>
        <p:spPr>
          <a:xfrm>
            <a:off x="382588" y="1555079"/>
            <a:ext cx="8506888" cy="39814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600" dirty="0"/>
              <a:t>Transparent Data Encryption (TDE) was introduced in SQL Server 2008. It’s main purpose was to </a:t>
            </a:r>
            <a:r>
              <a:rPr lang="en-US" sz="1600" b="1" dirty="0"/>
              <a:t>protect data by encrypting the physical files, both the data (</a:t>
            </a:r>
            <a:r>
              <a:rPr lang="en-US" sz="1600" b="1" dirty="0" err="1"/>
              <a:t>mdf</a:t>
            </a:r>
            <a:r>
              <a:rPr lang="en-US" sz="1600" b="1" dirty="0"/>
              <a:t>) and log (</a:t>
            </a:r>
            <a:r>
              <a:rPr lang="en-US" sz="1600" b="1" dirty="0" err="1"/>
              <a:t>ldf</a:t>
            </a:r>
            <a:r>
              <a:rPr lang="en-US" sz="1600" b="1" dirty="0"/>
              <a:t>) files </a:t>
            </a:r>
            <a:r>
              <a:rPr lang="en-US" sz="1600" dirty="0"/>
              <a:t>(as opposed to the actual data stored within the database). Transparent Data Encryption Encrypts SQL Server, Azure SQL Databases, and Azure SQL Data Warehouse data files.</a:t>
            </a:r>
          </a:p>
          <a:p>
            <a:endParaRPr lang="en-US" sz="1600" dirty="0"/>
          </a:p>
          <a:p>
            <a:r>
              <a:rPr lang="en-US" sz="1600" dirty="0"/>
              <a:t>Using TDE, we can encrypt database backup’s as well. </a:t>
            </a:r>
          </a:p>
          <a:p>
            <a:endParaRPr lang="en-US" sz="1600" dirty="0"/>
          </a:p>
          <a:p>
            <a:r>
              <a:rPr lang="en-US" dirty="0"/>
              <a:t>With TDE, The data transmitted over the network is not encrypted and the data at the </a:t>
            </a:r>
            <a:r>
              <a:rPr lang="en-US" b="1" dirty="0"/>
              <a:t>object level remains unencrypted</a:t>
            </a:r>
            <a:r>
              <a:rPr lang="en-US" dirty="0"/>
              <a:t>. In other words, if a user has select access to a table(s) within the TDE enabled database, he/she will be able to read data with simple select statements, as the name suggests, it’s transparent.</a:t>
            </a:r>
          </a:p>
          <a:p>
            <a:endParaRPr lang="en-US" sz="1600" dirty="0"/>
          </a:p>
          <a:p>
            <a:r>
              <a:rPr lang="en-US" dirty="0"/>
              <a:t>TDE is implemented at the database level and is an all or nothing solution – so all data within the database will be encrypted – you </a:t>
            </a:r>
            <a:r>
              <a:rPr lang="en-US" b="1" dirty="0"/>
              <a:t>can’t just encrypt the sensitive columns.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859939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556B3-F533-4F0C-BB56-1C2B024B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w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93074-E75A-4D7C-A54B-F905294AA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F25BFF-0A0B-4461-A7EC-D7BD5BADEC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336" y="2017337"/>
            <a:ext cx="4567930" cy="2988297"/>
          </a:xfrm>
          <a:prstGeom prst="rect">
            <a:avLst/>
          </a:prstGeom>
        </p:spPr>
      </p:pic>
      <p:pic>
        <p:nvPicPr>
          <p:cNvPr id="3074" name="Picture 2" descr="https://www.sqlshack.com/wp-content/uploads/2018/07/word-image-95a.png">
            <a:extLst>
              <a:ext uri="{FF2B5EF4-FFF2-40B4-BE49-F238E27FC236}">
                <a16:creationId xmlns:a16="http://schemas.microsoft.com/office/drawing/2014/main" id="{B7982804-5D60-4569-8820-45331F564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518" y="1457170"/>
            <a:ext cx="4006146" cy="5081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76716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556B3-F533-4F0C-BB56-1C2B024B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93074-E75A-4D7C-A54B-F905294AA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262EA1-66BF-4D67-A9B6-94C427D76C91}"/>
              </a:ext>
            </a:extLst>
          </p:cNvPr>
          <p:cNvSpPr txBox="1"/>
          <p:nvPr/>
        </p:nvSpPr>
        <p:spPr>
          <a:xfrm>
            <a:off x="235670" y="1555079"/>
            <a:ext cx="8719794" cy="43507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/>
              <a:t>Take a backup before encryption database to avoid any issues.</a:t>
            </a:r>
          </a:p>
          <a:p>
            <a:pPr marL="342900" indent="-342900">
              <a:buAutoNum type="arabicPeriod"/>
            </a:pPr>
            <a:endParaRPr lang="en-US" sz="1600" dirty="0"/>
          </a:p>
          <a:p>
            <a:pPr marL="342900" indent="-342900">
              <a:buAutoNum type="arabicPeriod"/>
            </a:pPr>
            <a:r>
              <a:rPr lang="en-US" sz="1600" dirty="0"/>
              <a:t>Need to keep an eye on Transaction Log during the Encryption process as it may grow larger than normal.</a:t>
            </a:r>
          </a:p>
          <a:p>
            <a:pPr marL="342900" indent="-342900">
              <a:buAutoNum type="arabicPeriod"/>
            </a:pPr>
            <a:endParaRPr lang="en-US" sz="1600" dirty="0"/>
          </a:p>
          <a:p>
            <a:pPr marL="342900" indent="-342900">
              <a:buAutoNum type="arabicPeriod"/>
            </a:pPr>
            <a:r>
              <a:rPr lang="en-US" sz="1600" dirty="0"/>
              <a:t>Make sure Encryption Keys are stored safely, as these will be needed to remove encryption. If disaster occurs and you need to restore the database to another server from a backup file then the backup will be useless without the certificate and private key.</a:t>
            </a:r>
          </a:p>
          <a:p>
            <a:pPr marL="342900" indent="-342900">
              <a:buAutoNum type="arabicPeriod"/>
            </a:pPr>
            <a:endParaRPr lang="en-US" sz="1600" dirty="0"/>
          </a:p>
          <a:p>
            <a:pPr marL="342900" indent="-342900">
              <a:buAutoNum type="arabicPeriod"/>
            </a:pPr>
            <a:r>
              <a:rPr lang="en-US" sz="1600" dirty="0"/>
              <a:t>The password for the private key does not have to be the same as the database master key password.</a:t>
            </a:r>
          </a:p>
          <a:p>
            <a:pPr marL="342900" indent="-342900">
              <a:buAutoNum type="arabicPeriod"/>
            </a:pPr>
            <a:endParaRPr lang="en-US" sz="1600" dirty="0"/>
          </a:p>
          <a:p>
            <a:pPr marL="342900" indent="-342900">
              <a:buAutoNum type="arabicPeriod"/>
            </a:pPr>
            <a:r>
              <a:rPr lang="en-US" sz="1600" dirty="0"/>
              <a:t>Need to look I/O and CPU before implementing it as SQL Server instances with low I/O and low CPU usage will have the least performance impact. Servers with high CPU usage will have the most performance impact.</a:t>
            </a:r>
          </a:p>
          <a:p>
            <a:pPr marL="342900" indent="-342900">
              <a:buAutoNum type="arabicPeriod"/>
            </a:pPr>
            <a:endParaRPr lang="en-US" sz="1600" dirty="0"/>
          </a:p>
          <a:p>
            <a:pPr marL="342900" indent="-342900"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11807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556B3-F533-4F0C-BB56-1C2B024B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s - C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93074-E75A-4D7C-A54B-F905294AA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262EA1-66BF-4D67-A9B6-94C427D76C91}"/>
              </a:ext>
            </a:extLst>
          </p:cNvPr>
          <p:cNvSpPr txBox="1"/>
          <p:nvPr/>
        </p:nvSpPr>
        <p:spPr>
          <a:xfrm>
            <a:off x="212103" y="1375079"/>
            <a:ext cx="8719794" cy="548957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400" dirty="0"/>
              <a:t>PROS:</a:t>
            </a:r>
          </a:p>
          <a:p>
            <a:pPr marL="342900" indent="-342900">
              <a:buAutoNum type="arabicPeriod"/>
            </a:pPr>
            <a:r>
              <a:rPr lang="en-US" sz="1400" dirty="0"/>
              <a:t>It doesn't require a re-architecture of the application to call the encryption and decryption functions.</a:t>
            </a:r>
          </a:p>
          <a:p>
            <a:pPr marL="342900" indent="-342900">
              <a:buAutoNum type="arabicPeriod"/>
            </a:pPr>
            <a:endParaRPr lang="en-US" sz="1400" dirty="0"/>
          </a:p>
          <a:p>
            <a:pPr marL="342900" indent="-342900">
              <a:buAutoNum type="arabicPeriod"/>
            </a:pPr>
            <a:r>
              <a:rPr lang="en-US" sz="1400" dirty="0"/>
              <a:t>If performance is a concern or you would like to avoid manually implementing encryption (normally a time-consuming process) then TDE is the way to go.</a:t>
            </a:r>
          </a:p>
          <a:p>
            <a:pPr marL="342900" indent="-342900">
              <a:buAutoNum type="arabicPeriod"/>
            </a:pPr>
            <a:endParaRPr lang="en-US" sz="1400" dirty="0"/>
          </a:p>
          <a:p>
            <a:pPr marL="342900" indent="-342900">
              <a:buAutoNum type="arabicPeriod"/>
            </a:pPr>
            <a:r>
              <a:rPr lang="en-US" sz="1400" dirty="0"/>
              <a:t>Works with high availability features, such as mirroring, </a:t>
            </a:r>
            <a:r>
              <a:rPr lang="en-US" sz="1400" dirty="0" err="1"/>
              <a:t>AlwaysOn</a:t>
            </a:r>
            <a:r>
              <a:rPr lang="en-US" sz="1400" dirty="0"/>
              <a:t> and log shipping.</a:t>
            </a:r>
          </a:p>
          <a:p>
            <a:pPr marL="342900" indent="-342900">
              <a:buAutoNum type="arabicPeriod"/>
            </a:pPr>
            <a:endParaRPr lang="en-US" sz="1400" dirty="0"/>
          </a:p>
          <a:p>
            <a:pPr marL="342900" indent="-342900">
              <a:buAutoNum type="arabicPeriod"/>
            </a:pPr>
            <a:r>
              <a:rPr lang="en-US" sz="1400" dirty="0"/>
              <a:t>Works with older versions of SQL Server, back to 2008.</a:t>
            </a:r>
          </a:p>
          <a:p>
            <a:pPr marL="342900" indent="-342900">
              <a:buAutoNum type="arabicPeriod"/>
            </a:pPr>
            <a:endParaRPr lang="en-US" sz="1400" dirty="0"/>
          </a:p>
          <a:p>
            <a:pPr marL="342900" indent="-342900">
              <a:buAutoNum type="arabicPeriod"/>
            </a:pPr>
            <a:r>
              <a:rPr lang="en-US" sz="1400" dirty="0"/>
              <a:t>Fairly simple to Implement.</a:t>
            </a:r>
          </a:p>
          <a:p>
            <a:pPr marL="342900" indent="-342900">
              <a:buAutoNum type="arabicPeriod"/>
            </a:pPr>
            <a:endParaRPr lang="en-US" sz="1400" dirty="0"/>
          </a:p>
          <a:p>
            <a:r>
              <a:rPr lang="en-US" sz="1400" dirty="0"/>
              <a:t>CONS:</a:t>
            </a:r>
          </a:p>
          <a:p>
            <a:r>
              <a:rPr lang="en-US" sz="1400" dirty="0"/>
              <a:t>1. Only encrypts data at rest, so data in motion or held within an application is not encrypted.</a:t>
            </a:r>
          </a:p>
          <a:p>
            <a:pPr marL="342900" indent="-342900">
              <a:buAutoNum type="arabicPeriod"/>
            </a:pPr>
            <a:endParaRPr lang="en-US" sz="1400" dirty="0"/>
          </a:p>
          <a:p>
            <a:r>
              <a:rPr lang="en-US" sz="1400" dirty="0"/>
              <a:t>2. All data in the database is encrypted – not just the sensitive data.</a:t>
            </a:r>
          </a:p>
          <a:p>
            <a:endParaRPr lang="en-US" sz="1400" dirty="0"/>
          </a:p>
          <a:p>
            <a:r>
              <a:rPr lang="en-US" sz="1400" dirty="0"/>
              <a:t>3. Requires the expensive Enterprise Edition (or Developer or </a:t>
            </a:r>
            <a:r>
              <a:rPr lang="en-US" sz="1400" dirty="0" err="1"/>
              <a:t>DataCenter</a:t>
            </a:r>
            <a:r>
              <a:rPr lang="en-US" sz="1400" dirty="0"/>
              <a:t> Edition) of SQL Server.</a:t>
            </a:r>
          </a:p>
          <a:p>
            <a:endParaRPr lang="en-US" sz="1400" dirty="0"/>
          </a:p>
          <a:p>
            <a:r>
              <a:rPr lang="en-US" sz="1400" dirty="0"/>
              <a:t>4. As </a:t>
            </a:r>
            <a:r>
              <a:rPr lang="en-US" sz="1400" dirty="0" err="1"/>
              <a:t>TempDB</a:t>
            </a:r>
            <a:r>
              <a:rPr lang="en-US" sz="1400" dirty="0"/>
              <a:t> is encrypted, there is potentially an impact on non-encrypted databases on the same server.</a:t>
            </a:r>
          </a:p>
          <a:p>
            <a:endParaRPr lang="en-US" sz="1400" dirty="0"/>
          </a:p>
          <a:p>
            <a:r>
              <a:rPr lang="en-US" sz="1400" dirty="0"/>
              <a:t>5. There is a small performance impact. Microsoft claims this is only 2 – 4% compared to a non-encrypted database.</a:t>
            </a:r>
          </a:p>
          <a:p>
            <a:endParaRPr lang="en-US" sz="1400" dirty="0"/>
          </a:p>
          <a:p>
            <a:pPr marL="342900" indent="-342900"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05056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556B3-F533-4F0C-BB56-1C2B024B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cens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93074-E75A-4D7C-A54B-F905294AA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29D733-C80D-4201-920D-63CAB5883364}"/>
              </a:ext>
            </a:extLst>
          </p:cNvPr>
          <p:cNvSpPr txBox="1"/>
          <p:nvPr/>
        </p:nvSpPr>
        <p:spPr>
          <a:xfrm>
            <a:off x="382588" y="1555079"/>
            <a:ext cx="8601156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600" dirty="0"/>
              <a:t>TDE can be used on below versions</a:t>
            </a:r>
          </a:p>
          <a:p>
            <a:endParaRPr lang="en-US" sz="1600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A1CA075-B911-4F49-9809-4151D21CA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388635"/>
              </p:ext>
            </p:extLst>
          </p:nvPr>
        </p:nvGraphicFramePr>
        <p:xfrm>
          <a:off x="382587" y="2120225"/>
          <a:ext cx="8361169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9540">
                  <a:extLst>
                    <a:ext uri="{9D8B030D-6E8A-4147-A177-3AD203B41FA5}">
                      <a16:colId xmlns:a16="http://schemas.microsoft.com/office/drawing/2014/main" val="2971660576"/>
                    </a:ext>
                  </a:extLst>
                </a:gridCol>
                <a:gridCol w="7101629">
                  <a:extLst>
                    <a:ext uri="{9D8B030D-6E8A-4147-A177-3AD203B41FA5}">
                      <a16:colId xmlns:a16="http://schemas.microsoft.com/office/drawing/2014/main" val="22868812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r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9047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QL 2016 Evaluation, Developer, Enterpr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0742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QL 2014 Evaluation, Developer, Enterpr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70054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QL Server 2012 Evaluation, Developer, Enterpr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8907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QL Server 2008 R2 Datacenter, Evaluation, Developer, Enterprise, Datacen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90691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QL Server 2008 Evaluation, Developer, Enterpr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0022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0414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013468" y="3056575"/>
            <a:ext cx="5117064" cy="744850"/>
          </a:xfrm>
        </p:spPr>
        <p:txBody>
          <a:bodyPr>
            <a:normAutofit/>
          </a:bodyPr>
          <a:lstStyle/>
          <a:p>
            <a:pPr algn="ctr"/>
            <a:r>
              <a:rPr lang="en-US" sz="4800" dirty="0"/>
              <a:t>Thank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75688" y="5753101"/>
            <a:ext cx="468312" cy="136525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06B58DEB-6F20-431F-ACDD-F72D6207BB90}"/>
              </a:ext>
            </a:extLst>
          </p:cNvPr>
          <p:cNvSpPr txBox="1">
            <a:spLocks/>
          </p:cNvSpPr>
          <p:nvPr/>
        </p:nvSpPr>
        <p:spPr>
          <a:xfrm>
            <a:off x="2013468" y="3279610"/>
            <a:ext cx="5117064" cy="74485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4572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sz="3000" b="1" kern="1200">
                <a:solidFill>
                  <a:srgbClr val="8DC63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chemeClr val="bg1"/>
                </a:solidFill>
                <a:latin typeface="Book Antiqua" panose="02040602050305030304" pitchFamily="18" charset="0"/>
              </a:rPr>
              <a:t>Jiten Pansara</a:t>
            </a:r>
          </a:p>
        </p:txBody>
      </p:sp>
    </p:spTree>
    <p:extLst>
      <p:ext uri="{BB962C8B-B14F-4D97-AF65-F5344CB8AC3E}">
        <p14:creationId xmlns:p14="http://schemas.microsoft.com/office/powerpoint/2010/main" val="846310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S">
  <a:themeElements>
    <a:clrScheme name="NEW FIS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72246C"/>
      </a:hlink>
      <a:folHlink>
        <a:srgbClr val="FFF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FIS_presentation_4x3_empty with added design theme">
  <a:themeElements>
    <a:clrScheme name="NEW FIS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72246C"/>
      </a:hlink>
      <a:folHlink>
        <a:srgbClr val="FFF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FIS_presentation_4x3">
  <a:themeElements>
    <a:clrScheme name="FIS oct2015">
      <a:dk1>
        <a:sysClr val="windowText" lastClr="000000"/>
      </a:dk1>
      <a:lt1>
        <a:sysClr val="window" lastClr="FFFFFF"/>
      </a:lt1>
      <a:dk2>
        <a:srgbClr val="8DC63F"/>
      </a:dk2>
      <a:lt2>
        <a:srgbClr val="BBBCBC"/>
      </a:lt2>
      <a:accent1>
        <a:srgbClr val="8DC63F"/>
      </a:accent1>
      <a:accent2>
        <a:srgbClr val="004F59"/>
      </a:accent2>
      <a:accent3>
        <a:srgbClr val="00C1D5"/>
      </a:accent3>
      <a:accent4>
        <a:srgbClr val="009273"/>
      </a:accent4>
      <a:accent5>
        <a:srgbClr val="FFC845"/>
      </a:accent5>
      <a:accent6>
        <a:srgbClr val="BBBCBC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FIS_presentation_4x3_empty with added design theme">
  <a:themeElements>
    <a:clrScheme name="NEW FIS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9_FIS">
  <a:themeElements>
    <a:clrScheme name="FIS oct2015">
      <a:dk1>
        <a:sysClr val="windowText" lastClr="000000"/>
      </a:dk1>
      <a:lt1>
        <a:sysClr val="window" lastClr="FFFFFF"/>
      </a:lt1>
      <a:dk2>
        <a:srgbClr val="8DC63F"/>
      </a:dk2>
      <a:lt2>
        <a:srgbClr val="BBBCBC"/>
      </a:lt2>
      <a:accent1>
        <a:srgbClr val="8DC63F"/>
      </a:accent1>
      <a:accent2>
        <a:srgbClr val="004F59"/>
      </a:accent2>
      <a:accent3>
        <a:srgbClr val="00C1D5"/>
      </a:accent3>
      <a:accent4>
        <a:srgbClr val="009273"/>
      </a:accent4>
      <a:accent5>
        <a:srgbClr val="FFC845"/>
      </a:accent5>
      <a:accent6>
        <a:srgbClr val="BBBCBC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F5FED36-B184-453F-9AA2-A1FC07BE7868}" vid="{C9734979-0DDD-4F6F-B6B2-6C9B2C0FF6E5}"/>
    </a:ext>
  </a:extLst>
</a:theme>
</file>

<file path=ppt/theme/theme6.xml><?xml version="1.0" encoding="utf-8"?>
<a:theme xmlns:a="http://schemas.openxmlformats.org/drawingml/2006/main" name="2_FIS_presentation_4x3_empty with added design theme">
  <a:themeElements>
    <a:clrScheme name="FIS BRAND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FIS 16x9 Executive Presentation and Toolkit">
  <a:themeElements>
    <a:clrScheme name="FIS oct2015">
      <a:dk1>
        <a:sysClr val="windowText" lastClr="000000"/>
      </a:dk1>
      <a:lt1>
        <a:sysClr val="window" lastClr="FFFFFF"/>
      </a:lt1>
      <a:dk2>
        <a:srgbClr val="8DC63F"/>
      </a:dk2>
      <a:lt2>
        <a:srgbClr val="BBBCBC"/>
      </a:lt2>
      <a:accent1>
        <a:srgbClr val="8DC63F"/>
      </a:accent1>
      <a:accent2>
        <a:srgbClr val="004F59"/>
      </a:accent2>
      <a:accent3>
        <a:srgbClr val="00C1D5"/>
      </a:accent3>
      <a:accent4>
        <a:srgbClr val="009273"/>
      </a:accent4>
      <a:accent5>
        <a:srgbClr val="FFC845"/>
      </a:accent5>
      <a:accent6>
        <a:srgbClr val="BBBCBC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3_FIS_presentation_4x3_empty with added design theme">
  <a:themeElements>
    <a:clrScheme name="NEW FIS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72246C"/>
      </a:hlink>
      <a:folHlink>
        <a:srgbClr val="FFF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4_FIS_presentation_4x3_empty with added design theme">
  <a:themeElements>
    <a:clrScheme name="NEW FIS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8DC63F"/>
      </a:hlink>
      <a:folHlink>
        <a:srgbClr val="004F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fficial Record" ma:contentTypeID="0x010100B1AF7E0DF49F8B4998DFBA24D0E94F0400EF6AA88B9EC56046829175579DD56F62" ma:contentTypeVersion="17" ma:contentTypeDescription="FIS official records per the Records and Retention policy.&#10;" ma:contentTypeScope="" ma:versionID="40f055bb11b490dc86941d6fb9463cbb">
  <xsd:schema xmlns:xsd="http://www.w3.org/2001/XMLSchema" xmlns:xs="http://www.w3.org/2001/XMLSchema" xmlns:p="http://schemas.microsoft.com/office/2006/metadata/properties" xmlns:ns2="27be7644-ceb4-4b99-a982-54c24b0d5763" xmlns:ns3="f973b30c-1df3-4c2a-bca9-cf21b10eff93" xmlns:ns4="da2d9307-b2cc-4afe-9596-29bf38550d3c" targetNamespace="http://schemas.microsoft.com/office/2006/metadata/properties" ma:root="true" ma:fieldsID="9a5b38b3c82e31a9f808790e1f49f3f9" ns2:_="" ns3:_="" ns4:_="">
    <xsd:import namespace="27be7644-ceb4-4b99-a982-54c24b0d5763"/>
    <xsd:import namespace="f973b30c-1df3-4c2a-bca9-cf21b10eff93"/>
    <xsd:import namespace="da2d9307-b2cc-4afe-9596-29bf38550d3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p2ccda1aa538431ebdbd9aff2e618395" minOccurs="0"/>
                <xsd:element ref="ns2:m212503b6b334cf5939abe2139ab9989" minOccurs="0"/>
                <xsd:element ref="ns3:d85f6d7fdfbb4fcb9928e85e20829f11" minOccurs="0"/>
                <xsd:element ref="ns4:FIS_x0020_Templat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be7644-ceb4-4b99-a982-54c24b0d5763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description="" ma:hidden="true" ma:list="{ee0b3923-50aa-4895-b825-540afbf82b57}" ma:internalName="TaxCatchAll" ma:showField="CatchAllData" ma:web="f973b30c-1df3-4c2a-bca9-cf21b10eff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description="" ma:hidden="true" ma:list="{ee0b3923-50aa-4895-b825-540afbf82b57}" ma:internalName="TaxCatchAllLabel" ma:readOnly="true" ma:showField="CatchAllDataLabel" ma:web="f973b30c-1df3-4c2a-bca9-cf21b10eff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2ccda1aa538431ebdbd9aff2e618395" ma:index="10" ma:taxonomy="true" ma:internalName="p2ccda1aa538431ebdbd9aff2e618395" ma:taxonomyFieldName="hubDataClassification" ma:displayName="Data Classification" ma:default="120;#Internal Use|c3cad031-fee6-47a9-aad0-2ffea30ffed6" ma:fieldId="{92ccda1a-a538-431e-bdbd-9aff2e618395}" ma:sspId="131c18cc-2474-4745-871d-6b663d645c63" ma:termSetId="eb0af5e7-1eeb-4e7f-b793-c64bc7a9f48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212503b6b334cf5939abe2139ab9989" ma:index="12" ma:taxonomy="true" ma:internalName="m212503b6b334cf5939abe2139ab9989" ma:taxonomyFieldName="hubOfficialRecord" ma:displayName="Record Type" ma:default="118;#Discretionary|be304623-379d-4a0b-8bdf-b30f264f5d0f" ma:fieldId="{6212503b-6b33-4cf5-939a-be2139ab9989}" ma:sspId="131c18cc-2474-4745-871d-6b663d645c63" ma:termSetId="bd792795-f08d-4e72-bb89-f38d6c0b487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73b30c-1df3-4c2a-bca9-cf21b10eff93" elementFormDefault="qualified">
    <xsd:import namespace="http://schemas.microsoft.com/office/2006/documentManagement/types"/>
    <xsd:import namespace="http://schemas.microsoft.com/office/infopath/2007/PartnerControls"/>
    <xsd:element name="d85f6d7fdfbb4fcb9928e85e20829f11" ma:index="14" ma:taxonomy="true" ma:internalName="d85f6d7fdfbb4fcb9928e85e20829f11" ma:taxonomyFieldName="ContentCategory1" ma:displayName="Content Category" ma:default="116;#General|df414748-05a1-4eef-b671-5b3efbbf31a9" ma:fieldId="{d85f6d7f-dfbb-4fcb-9928-e85e20829f11}" ma:sspId="131c18cc-2474-4745-871d-6b663d645c63" ma:termSetId="957a4a28-c6ea-4b9b-9330-da922fce844e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d9307-b2cc-4afe-9596-29bf38550d3c" elementFormDefault="qualified">
    <xsd:import namespace="http://schemas.microsoft.com/office/2006/documentManagement/types"/>
    <xsd:import namespace="http://schemas.microsoft.com/office/infopath/2007/PartnerControls"/>
    <xsd:element name="FIS_x0020_Templates" ma:index="16" nillable="true" ma:displayName="FIS Templates" ma:default="Microsoft PowerPoint Templates" ma:format="Dropdown" ma:internalName="FIS_x0020_Templates">
      <xsd:simpleType>
        <xsd:restriction base="dms:Choice">
          <xsd:enumeration value="Microsoft PowerPoint Template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7be7644-ceb4-4b99-a982-54c24b0d5763">
      <Value>120</Value>
      <Value>118</Value>
      <Value>116</Value>
    </TaxCatchAll>
    <d85f6d7fdfbb4fcb9928e85e20829f11 xmlns="f973b30c-1df3-4c2a-bca9-cf21b10eff9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neral</TermName>
          <TermId xmlns="http://schemas.microsoft.com/office/infopath/2007/PartnerControls">df414748-05a1-4eef-b671-5b3efbbf31a9</TermId>
        </TermInfo>
      </Terms>
    </d85f6d7fdfbb4fcb9928e85e20829f11>
    <FIS_x0020_Templates xmlns="da2d9307-b2cc-4afe-9596-29bf38550d3c">Microsoft PowerPoint Templates</FIS_x0020_Templates>
    <p2ccda1aa538431ebdbd9aff2e618395 xmlns="27be7644-ceb4-4b99-a982-54c24b0d57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Use</TermName>
          <TermId xmlns="http://schemas.microsoft.com/office/infopath/2007/PartnerControls">c3cad031-fee6-47a9-aad0-2ffea30ffed6</TermId>
        </TermInfo>
      </Terms>
    </p2ccda1aa538431ebdbd9aff2e618395>
    <m212503b6b334cf5939abe2139ab9989 xmlns="27be7644-ceb4-4b99-a982-54c24b0d57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iscretionary</TermName>
          <TermId xmlns="http://schemas.microsoft.com/office/infopath/2007/PartnerControls">be304623-379d-4a0b-8bdf-b30f264f5d0f</TermId>
        </TermInfo>
      </Terms>
    </m212503b6b334cf5939abe2139ab9989>
  </documentManagement>
</p:properties>
</file>

<file path=customXml/item4.xml><?xml version="1.0" encoding="utf-8"?>
<?mso-contentType ?>
<SharedContentType xmlns="Microsoft.SharePoint.Taxonomy.ContentTypeSync" SourceId="131c18cc-2474-4745-871d-6b663d645c63" ContentTypeId="0x010100B1AF7E0DF49F8B4998DFBA24D0E94F04" PreviousValue="false"/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27191D9-FBBD-467B-A6D0-664EC08D66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be7644-ceb4-4b99-a982-54c24b0d5763"/>
    <ds:schemaRef ds:uri="f973b30c-1df3-4c2a-bca9-cf21b10eff93"/>
    <ds:schemaRef ds:uri="da2d9307-b2cc-4afe-9596-29bf38550d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30B59C3-6B2E-4E2E-BBD4-A1A998B33CA0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B74BC820-1BE7-4FA8-AB27-BFEE19A5892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27be7644-ceb4-4b99-a982-54c24b0d5763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dcmitype/"/>
    <ds:schemaRef ds:uri="da2d9307-b2cc-4afe-9596-29bf38550d3c"/>
    <ds:schemaRef ds:uri="f973b30c-1df3-4c2a-bca9-cf21b10eff93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E8CBD4CD-1C28-4750-955B-31E3E339A3BD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E39F4B76-62AC-43B1-BC21-4857E7C943D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S Presentation 4x3</Template>
  <TotalTime>5775</TotalTime>
  <Words>690</Words>
  <Application>Microsoft Office PowerPoint</Application>
  <PresentationFormat>On-screen Show (4:3)</PresentationFormat>
  <Paragraphs>8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Arial</vt:lpstr>
      <vt:lpstr>Avenir Next LT Pro Light</vt:lpstr>
      <vt:lpstr>Book Antiqua</vt:lpstr>
      <vt:lpstr>Calibri</vt:lpstr>
      <vt:lpstr>Lucida Grande</vt:lpstr>
      <vt:lpstr>Symbol</vt:lpstr>
      <vt:lpstr>FIS</vt:lpstr>
      <vt:lpstr>FIS_presentation_4x3_empty with added design theme</vt:lpstr>
      <vt:lpstr>FIS_presentation_4x3</vt:lpstr>
      <vt:lpstr>1_FIS_presentation_4x3_empty with added design theme</vt:lpstr>
      <vt:lpstr>9_FIS</vt:lpstr>
      <vt:lpstr>2_FIS_presentation_4x3_empty with added design theme</vt:lpstr>
      <vt:lpstr>FIS 16x9 Executive Presentation and Toolkit</vt:lpstr>
      <vt:lpstr>3_FIS_presentation_4x3_empty with added design theme</vt:lpstr>
      <vt:lpstr>4_FIS_presentation_4x3_empty with added design theme</vt:lpstr>
      <vt:lpstr>think-cell Slide</vt:lpstr>
      <vt:lpstr>TDE(Transparent Data Encryption)</vt:lpstr>
      <vt:lpstr>Agenda</vt:lpstr>
      <vt:lpstr>What is TDE – How it works?</vt:lpstr>
      <vt:lpstr>Flow Chart</vt:lpstr>
      <vt:lpstr>Best Practices</vt:lpstr>
      <vt:lpstr>Pros - Cons</vt:lpstr>
      <vt:lpstr>Licensing</vt:lpstr>
      <vt:lpstr>Thanks</vt:lpstr>
    </vt:vector>
  </TitlesOfParts>
  <Company>SunGard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urities Finance &amp; Processing</dc:title>
  <dc:creator>Iyengar, Sriram</dc:creator>
  <cp:lastModifiedBy>Pansara, Jiten</cp:lastModifiedBy>
  <cp:revision>439</cp:revision>
  <cp:lastPrinted>2015-11-18T09:44:31Z</cp:lastPrinted>
  <dcterms:created xsi:type="dcterms:W3CDTF">2015-12-11T09:20:10Z</dcterms:created>
  <dcterms:modified xsi:type="dcterms:W3CDTF">2019-09-17T06:1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AF7E0DF49F8B4998DFBA24D0E94F0400EF6AA88B9EC56046829175579DD56F62</vt:lpwstr>
  </property>
</Properties>
</file>